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jpeg" ContentType="image/jpeg"/>
  <Default Extension="JPG" ContentType="image/.jp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4" r:id="rId3"/>
  </p:sldMasterIdLst>
  <p:notesMasterIdLst>
    <p:notesMasterId r:id="rId6"/>
  </p:notesMasterIdLst>
  <p:handoutMasterIdLst>
    <p:handoutMasterId r:id="rId28"/>
  </p:handoutMasterIdLst>
  <p:sldIdLst>
    <p:sldId id="280" r:id="rId4"/>
    <p:sldId id="590" r:id="rId5"/>
    <p:sldId id="591" r:id="rId7"/>
    <p:sldId id="632" r:id="rId8"/>
    <p:sldId id="647" r:id="rId9"/>
    <p:sldId id="648" r:id="rId10"/>
    <p:sldId id="649" r:id="rId11"/>
    <p:sldId id="650" r:id="rId12"/>
    <p:sldId id="651" r:id="rId13"/>
    <p:sldId id="652" r:id="rId14"/>
    <p:sldId id="653" r:id="rId15"/>
    <p:sldId id="661" r:id="rId16"/>
    <p:sldId id="662" r:id="rId17"/>
    <p:sldId id="666" r:id="rId18"/>
    <p:sldId id="663" r:id="rId19"/>
    <p:sldId id="664" r:id="rId20"/>
    <p:sldId id="665" r:id="rId21"/>
    <p:sldId id="654" r:id="rId22"/>
    <p:sldId id="657" r:id="rId23"/>
    <p:sldId id="658" r:id="rId24"/>
    <p:sldId id="659" r:id="rId25"/>
    <p:sldId id="660" r:id="rId26"/>
    <p:sldId id="633"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19" autoAdjust="0"/>
  </p:normalViewPr>
  <p:slideViewPr>
    <p:cSldViewPr snapToGrid="0">
      <p:cViewPr>
        <p:scale>
          <a:sx n="64" d="100"/>
          <a:sy n="64" d="100"/>
        </p:scale>
        <p:origin x="48" y="36"/>
      </p:cViewPr>
      <p:guideLst/>
    </p:cSldViewPr>
  </p:slideViewPr>
  <p:notesTextViewPr>
    <p:cViewPr>
      <p:scale>
        <a:sx n="1" d="1"/>
        <a:sy n="1" d="1"/>
      </p:scale>
      <p:origin x="0" y="0"/>
    </p:cViewPr>
  </p:notesTextViewPr>
  <p:notesViewPr>
    <p:cSldViewPr snapToGrid="0">
      <p:cViewPr varScale="1">
        <p:scale>
          <a:sx n="48" d="100"/>
          <a:sy n="48" d="100"/>
        </p:scale>
        <p:origin x="2752" y="48"/>
      </p:cViewPr>
      <p:guideLst>
        <p:guide orient="horz" pos="2914"/>
        <p:guide pos="216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notesMaster" Target="notesMasters/notesMaster1.xml"/><Relationship Id="rId5" Type="http://schemas.openxmlformats.org/officeDocument/2006/relationships/slide" Target="slides/slide2.xml"/><Relationship Id="rId4" Type="http://schemas.openxmlformats.org/officeDocument/2006/relationships/slide" Target="slides/slide1.xml"/><Relationship Id="rId31" Type="http://schemas.openxmlformats.org/officeDocument/2006/relationships/tableStyles" Target="tableStyles.xml"/><Relationship Id="rId30" Type="http://schemas.openxmlformats.org/officeDocument/2006/relationships/viewProps" Target="viewProps.xml"/><Relationship Id="rId3" Type="http://schemas.openxmlformats.org/officeDocument/2006/relationships/slideMaster" Target="slideMasters/slideMaster2.xml"/><Relationship Id="rId29" Type="http://schemas.openxmlformats.org/officeDocument/2006/relationships/presProps" Target="presProps.xml"/><Relationship Id="rId28" Type="http://schemas.openxmlformats.org/officeDocument/2006/relationships/handoutMaster" Target="handoutMasters/handoutMaster1.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C064A-D61B-4B21-B757-51A9B82445B8}" type="datetimeFigureOut">
              <a:rPr lang="en-US" smtClean="0"/>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05E07-67EA-4042-A3F6-853A8AD8D209}" type="slidenum">
              <a:rPr lang="en-US" smtClean="0"/>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A59685-300E-4D8A-B523-937223CEA840}" type="datetimeFigureOut">
              <a:rPr lang="en-US" smtClean="0"/>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5B5FA4-A16A-4B7E-96BB-4DD9F0840BE1}"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F5B5FA4-A16A-4B7E-96BB-4DD9F0840BE1}" type="slidenum">
              <a:rPr lang="en-US" smtClean="0"/>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9" Type="http://schemas.openxmlformats.org/officeDocument/2006/relationships/tags" Target="../tags/tag5.xml"/><Relationship Id="rId8" Type="http://schemas.openxmlformats.org/officeDocument/2006/relationships/oleObject" Target="../embeddings/oleObject2.bin"/><Relationship Id="rId7" Type="http://schemas.openxmlformats.org/officeDocument/2006/relationships/tags" Target="../tags/tag4.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image" Target="../media/image6.emf"/><Relationship Id="rId3" Type="http://schemas.openxmlformats.org/officeDocument/2006/relationships/oleObject" Target="../embeddings/oleObject1.bin"/><Relationship Id="rId2" Type="http://schemas.openxmlformats.org/officeDocument/2006/relationships/tags" Target="../tags/tag1.xml"/><Relationship Id="rId11" Type="http://schemas.openxmlformats.org/officeDocument/2006/relationships/vmlDrawing" Target="../drawings/vmlDrawing1.vml"/><Relationship Id="rId10"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9" Type="http://schemas.openxmlformats.org/officeDocument/2006/relationships/vmlDrawing" Target="../drawings/vmlDrawing2.vml"/><Relationship Id="rId8" Type="http://schemas.openxmlformats.org/officeDocument/2006/relationships/oleObject" Target="../embeddings/oleObject4.bin"/><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image" Target="../media/image6.emf"/><Relationship Id="rId3"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vmlDrawing" Target="../drawings/vmlDrawing3.vml"/><Relationship Id="rId7" Type="http://schemas.openxmlformats.org/officeDocument/2006/relationships/tags" Target="../tags/tag12.xml"/><Relationship Id="rId6" Type="http://schemas.openxmlformats.org/officeDocument/2006/relationships/tags" Target="../tags/tag11.xml"/><Relationship Id="rId5" Type="http://schemas.openxmlformats.org/officeDocument/2006/relationships/image" Target="../media/image6.emf"/><Relationship Id="rId4" Type="http://schemas.openxmlformats.org/officeDocument/2006/relationships/oleObject" Target="../embeddings/oleObject5.bin"/><Relationship Id="rId3" Type="http://schemas.openxmlformats.org/officeDocument/2006/relationships/tags" Target="../tags/tag10.xml"/><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370693" y="377348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8D38747-4367-4BD2-8D51-C97E202738E2}" type="datetime1">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6" name="Picture 15" descr="Slate-V2-HD-pano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5" y="5247728"/>
            <a:ext cx="10353762" cy="543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1F1B079-7EF0-44EE-B798-BCC497C9F3B2}"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normAutofit/>
          </a:bodyPr>
          <a:lstStyle>
            <a:lvl1pPr>
              <a:defRPr sz="4000"/>
            </a:lvl1pPr>
          </a:lstStyle>
          <a:p>
            <a:r>
              <a:rPr lang="en-US"/>
              <a:t>Click to edit Master title style</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28FF70A8-1D13-4657-95F0-A9EA54967B8D}"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21EB90AC-71BD-4C7F-8ACA-7B3F18292E63}"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
        <p:nvSpPr>
          <p:cNvPr id="11" name="TextBox 10"/>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endParaRPr lang="en-US" sz="8000" dirty="0">
              <a:solidFill>
                <a:schemeClr val="tx1"/>
              </a:solidFill>
              <a:effectLst/>
            </a:endParaRPr>
          </a:p>
        </p:txBody>
      </p:sp>
      <p:sp>
        <p:nvSpPr>
          <p:cNvPr id="13" name="TextBox 12"/>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endParaRPr lang="en-US" sz="8000" dirty="0">
              <a:solidFill>
                <a:schemeClr val="tx1"/>
              </a:solidFill>
              <a:effectLst/>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4E6EFC2C-8905-46F0-B443-CE905B76BA01}"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5"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8" name="Text Placeholder 3"/>
          <p:cNvSpPr>
            <a:spLocks noGrp="1"/>
          </p:cNvSpPr>
          <p:nvPr>
            <p:ph type="body" sz="half" idx="15"/>
          </p:nvPr>
        </p:nvSpPr>
        <p:spPr>
          <a:xfrm>
            <a:off x="91379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9" name="Text Placeholder 4"/>
          <p:cNvSpPr>
            <a:spLocks noGrp="1"/>
          </p:cNvSpPr>
          <p:nvPr>
            <p:ph type="body" sz="quarter" idx="3"/>
          </p:nvPr>
        </p:nvSpPr>
        <p:spPr>
          <a:xfrm>
            <a:off x="4446711" y="1885949"/>
            <a:ext cx="3300984" cy="764783"/>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10" name="Text Placeholder 3"/>
          <p:cNvSpPr>
            <a:spLocks noGrp="1"/>
          </p:cNvSpPr>
          <p:nvPr>
            <p:ph type="body" sz="half" idx="16"/>
          </p:nvPr>
        </p:nvSpPr>
        <p:spPr>
          <a:xfrm>
            <a:off x="444143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11" name="Text Placeholder 4"/>
          <p:cNvSpPr>
            <a:spLocks noGrp="1"/>
          </p:cNvSpPr>
          <p:nvPr>
            <p:ph type="body" sz="quarter" idx="13"/>
          </p:nvPr>
        </p:nvSpPr>
        <p:spPr>
          <a:xfrm>
            <a:off x="7966572"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12" name="Text Placeholder 3"/>
          <p:cNvSpPr>
            <a:spLocks noGrp="1"/>
          </p:cNvSpPr>
          <p:nvPr>
            <p:ph type="body" sz="half" idx="17"/>
          </p:nvPr>
        </p:nvSpPr>
        <p:spPr>
          <a:xfrm>
            <a:off x="7966572" y="2768110"/>
            <a:ext cx="3300984" cy="3023089"/>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3" name="Date Placeholder 2"/>
          <p:cNvSpPr>
            <a:spLocks noGrp="1"/>
          </p:cNvSpPr>
          <p:nvPr>
            <p:ph type="dt" sz="half" idx="10"/>
          </p:nvPr>
        </p:nvSpPr>
        <p:spPr/>
        <p:txBody>
          <a:bodyPr/>
          <a:lstStyle/>
          <a:p>
            <a:fld id="{D9079DC3-C9B5-499E-9140-0DC28B7074E2}" type="datetime1">
              <a:rPr lang="en-US" smtClean="0"/>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2" name="Picture 1"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95" y="4572443"/>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435"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66572"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3" name="Date Placeholder 2"/>
          <p:cNvSpPr>
            <a:spLocks noGrp="1"/>
          </p:cNvSpPr>
          <p:nvPr>
            <p:ph type="dt" sz="half" idx="10"/>
          </p:nvPr>
        </p:nvSpPr>
        <p:spPr/>
        <p:txBody>
          <a:bodyPr/>
          <a:lstStyle/>
          <a:p>
            <a:fld id="{30BB33EA-E472-4D22-9C03-A9C14AA21CED}" type="datetime1">
              <a:rPr lang="en-US" smtClean="0"/>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3114"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4"/>
          <p:cNvSpPr/>
          <p:nvPr>
            <p:custDataLst>
              <p:tags r:id="rId5"/>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marL="0" marR="0" lvl="0" indent="0" algn="l" defTabSz="957580" rtl="0" eaLnBrk="1" fontAlgn="auto" latinLnBrk="0" hangingPunct="1">
              <a:lnSpc>
                <a:spcPct val="100000"/>
              </a:lnSpc>
              <a:spcBef>
                <a:spcPts val="0"/>
              </a:spcBef>
              <a:spcAft>
                <a:spcPts val="0"/>
              </a:spcAft>
              <a:buClrTx/>
              <a:buSzTx/>
              <a:buFontTx/>
              <a:buNone/>
              <a:defRPr/>
            </a:pPr>
            <a:endParaRPr kumimoji="0" lang="fr-FR" sz="1900" b="0" i="0" u="none" strike="noStrike" kern="1200" cap="none" spc="0" normalizeH="0" baseline="0" noProof="0">
              <a:ln>
                <a:noFill/>
              </a:ln>
              <a:solidFill>
                <a:srgbClr val="00264A"/>
              </a:solidFill>
              <a:effectLst/>
              <a:uLnTx/>
              <a:uFillTx/>
              <a:latin typeface="Arial" panose="020B0604020202020204"/>
              <a:ea typeface="+mn-ea"/>
              <a:cs typeface="Arial" panose="020B0604020202020204" pitchFamily="34" charset="0"/>
            </a:endParaRPr>
          </a:p>
        </p:txBody>
      </p:sp>
      <p:cxnSp>
        <p:nvCxnSpPr>
          <p:cNvPr id="10" name="Straight Connector 5"/>
          <p:cNvCxnSpPr/>
          <p:nvPr>
            <p:custDataLst>
              <p:tags r:id="rId6"/>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2" name="Rectangle 11"/>
          <p:cNvSpPr/>
          <p:nvPr userDrawn="1"/>
        </p:nvSpPr>
        <p:spPr>
          <a:xfrm>
            <a:off x="0" y="0"/>
            <a:ext cx="12192000" cy="63769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5758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err="1">
              <a:ln>
                <a:noFill/>
              </a:ln>
              <a:solidFill>
                <a:srgbClr val="9F958F">
                  <a:lumMod val="50000"/>
                </a:srgbClr>
              </a:solidFill>
              <a:effectLst/>
              <a:uLnTx/>
              <a:uFillTx/>
              <a:latin typeface="Arial" panose="020B0604020202020204"/>
              <a:ea typeface="+mn-ea"/>
              <a:cs typeface="+mn-cs"/>
            </a:endParaRPr>
          </a:p>
        </p:txBody>
      </p:sp>
      <p:graphicFrame>
        <p:nvGraphicFramePr>
          <p:cNvPr id="13" name="Object 3" hidden="1"/>
          <p:cNvGraphicFramePr>
            <a:graphicFrameLocks noChangeAspect="1"/>
          </p:cNvGraphicFramePr>
          <p:nvPr>
            <p:custDataLst>
              <p:tags r:id="rId7"/>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3115" name="think-cell Slide" r:id="rId8" imgW="12700" imgH="12700" progId="">
                  <p:embed/>
                </p:oleObj>
              </mc:Choice>
              <mc:Fallback>
                <p:oleObj name="think-cell Slide" r:id="rId8"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p:nvPr userDrawn="1">
            <p:custDataLst>
              <p:tags r:id="rId9"/>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marL="0" marR="0" lvl="0" indent="0" algn="l" defTabSz="957580" rtl="0" eaLnBrk="1" fontAlgn="auto" latinLnBrk="0" hangingPunct="1">
              <a:lnSpc>
                <a:spcPct val="100000"/>
              </a:lnSpc>
              <a:spcBef>
                <a:spcPts val="0"/>
              </a:spcBef>
              <a:spcAft>
                <a:spcPts val="0"/>
              </a:spcAft>
              <a:buClrTx/>
              <a:buSzTx/>
              <a:buFontTx/>
              <a:buNone/>
              <a:defRPr/>
            </a:pPr>
            <a:endParaRPr kumimoji="0" lang="fr-FR" sz="1900" b="0" i="0" u="none" strike="noStrike" kern="1200" cap="none" spc="0" normalizeH="0" baseline="0" noProof="0" dirty="0">
              <a:ln>
                <a:noFill/>
              </a:ln>
              <a:solidFill>
                <a:srgbClr val="00264A"/>
              </a:solidFill>
              <a:effectLst/>
              <a:uLnTx/>
              <a:uFillTx/>
              <a:latin typeface="Arial" panose="020B0604020202020204"/>
              <a:ea typeface="+mn-ea"/>
              <a:cs typeface="Arial" panose="020B0604020202020204" pitchFamily="34" charset="0"/>
            </a:endParaRPr>
          </a:p>
        </p:txBody>
      </p:sp>
      <p:pic>
        <p:nvPicPr>
          <p:cNvPr id="15" name="Image 11" descr="HandsPanel_shutterstock_72073621.png"/>
          <p:cNvPicPr>
            <a:picLocks noChangeAspect="1"/>
          </p:cNvPicPr>
          <p:nvPr userDrawn="1"/>
        </p:nvPicPr>
        <p:blipFill>
          <a:blip r:embed="rId10" cstate="print"/>
          <a:srcRect b="8012"/>
          <a:stretch>
            <a:fillRect/>
          </a:stretch>
        </p:blipFill>
        <p:spPr bwMode="auto">
          <a:xfrm>
            <a:off x="1" y="855663"/>
            <a:ext cx="12190047" cy="5521325"/>
          </a:xfrm>
          <a:prstGeom prst="rect">
            <a:avLst/>
          </a:prstGeom>
          <a:noFill/>
          <a:ln w="9525">
            <a:noFill/>
            <a:miter lim="800000"/>
            <a:headEnd/>
            <a:tailEnd/>
          </a:ln>
        </p:spPr>
      </p:pic>
      <p:sp>
        <p:nvSpPr>
          <p:cNvPr id="2" name="Titre 1"/>
          <p:cNvSpPr>
            <a:spLocks noGrp="1"/>
          </p:cNvSpPr>
          <p:nvPr>
            <p:ph type="title"/>
          </p:nvPr>
        </p:nvSpPr>
        <p:spPr/>
        <p:txBody>
          <a:bodyPr/>
          <a:lstStyle/>
          <a:p>
            <a:r>
              <a:rPr lang="en-US"/>
              <a:t>Click to edit Master title style</a:t>
            </a:r>
            <a:endParaRPr lang="en-US" dirty="0"/>
          </a:p>
        </p:txBody>
      </p:sp>
      <p:sp>
        <p:nvSpPr>
          <p:cNvPr id="6" name="Espace réservé du contenu 5"/>
          <p:cNvSpPr>
            <a:spLocks noGrp="1"/>
          </p:cNvSpPr>
          <p:nvPr>
            <p:ph sz="quarter" idx="10"/>
          </p:nvPr>
        </p:nvSpPr>
        <p:spPr>
          <a:xfrm>
            <a:off x="3522404" y="1442606"/>
            <a:ext cx="5466304" cy="3533155"/>
          </a:xfrm>
        </p:spPr>
        <p:txBody>
          <a:bodyPr/>
          <a:lstStyle>
            <a:lvl1pPr>
              <a:defRPr/>
            </a:lvl1pPr>
            <a:lvl2pPr>
              <a:buFont typeface="Arial" panose="020B0604020202020204" pitchFamily="34" charset="0"/>
              <a:buChar char="•"/>
              <a:defRPr/>
            </a:lvl2pPr>
          </a:lstStyle>
          <a:p>
            <a:pPr lvl="0"/>
            <a:r>
              <a:rPr lang="en-US" noProof="0"/>
              <a:t>Click to edit Master text styles</a:t>
            </a:r>
            <a:endParaRPr lang="en-US" noProof="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0"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Freeform 4"/>
          <p:cNvSpPr/>
          <p:nvPr>
            <p:custDataLst>
              <p:tags r:id="rId5"/>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marL="0" marR="0" lvl="0" indent="0" algn="l" defTabSz="957580" rtl="0" eaLnBrk="1" fontAlgn="auto" latinLnBrk="0" hangingPunct="1">
              <a:lnSpc>
                <a:spcPct val="100000"/>
              </a:lnSpc>
              <a:spcBef>
                <a:spcPts val="0"/>
              </a:spcBef>
              <a:spcAft>
                <a:spcPts val="0"/>
              </a:spcAft>
              <a:buClrTx/>
              <a:buSzTx/>
              <a:buFontTx/>
              <a:buNone/>
              <a:defRPr/>
            </a:pPr>
            <a:endParaRPr kumimoji="0" lang="fr-FR" sz="1900" b="0" i="0" u="none" strike="noStrike" kern="1200" cap="none" spc="0" normalizeH="0" baseline="0" noProof="0">
              <a:ln>
                <a:noFill/>
              </a:ln>
              <a:solidFill>
                <a:srgbClr val="00264A"/>
              </a:solidFill>
              <a:effectLst/>
              <a:uLnTx/>
              <a:uFillTx/>
              <a:latin typeface="Arial" panose="020B0604020202020204"/>
              <a:ea typeface="+mn-ea"/>
              <a:cs typeface="Arial" panose="020B0604020202020204" pitchFamily="34" charset="0"/>
            </a:endParaRPr>
          </a:p>
        </p:txBody>
      </p:sp>
      <p:cxnSp>
        <p:nvCxnSpPr>
          <p:cNvPr id="9" name="Straight Connector 5"/>
          <p:cNvCxnSpPr/>
          <p:nvPr>
            <p:custDataLst>
              <p:tags r:id="rId6"/>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7"/>
            </p:custDataLst>
          </p:nvPr>
        </p:nvGraphicFramePr>
        <p:xfrm>
          <a:off x="0" y="1"/>
          <a:ext cx="181708" cy="144463"/>
        </p:xfrm>
        <a:graphic>
          <a:graphicData uri="http://schemas.openxmlformats.org/presentationml/2006/ole">
            <mc:AlternateContent xmlns:mc="http://schemas.openxmlformats.org/markup-compatibility/2006">
              <mc:Choice xmlns:v="urn:schemas-microsoft-com:vml" Requires="v">
                <p:oleObj spid="_x0000_s5161" name="think-cell Slide" r:id="rId8" imgW="12700" imgH="12700" progId="">
                  <p:embed/>
                </p:oleObj>
              </mc:Choice>
              <mc:Fallback>
                <p:oleObj name="think-cell Slide" r:id="rId8" imgW="12700" imgH="12700" progId="">
                  <p:embed/>
                  <p:pic>
                    <p:nvPicPr>
                      <p:cNvPr id="0"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
                        <a:ext cx="18170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98021" y="1494766"/>
            <a:ext cx="11793979" cy="4643751"/>
          </a:xfrm>
        </p:spPr>
        <p:txBody>
          <a:bodyPr/>
          <a:lstStyle>
            <a:lvl1pPr>
              <a:defRPr b="0"/>
            </a:lvl1pPr>
            <a:lvl5pPr>
              <a:buNone/>
              <a:defRPr/>
            </a:lvl5pPr>
          </a:lstStyle>
          <a:p>
            <a:pPr lvl="0"/>
            <a:r>
              <a:rPr lang="en-US" noProof="0"/>
              <a:t>Click to edit Master text styles</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2" cstate="print"/>
          <a:srcRect l="240" t="179" r="380" b="511"/>
          <a:stretch>
            <a:fillRect/>
          </a:stretch>
        </p:blipFill>
        <p:spPr bwMode="auto">
          <a:xfrm>
            <a:off x="0" y="1080743"/>
            <a:ext cx="12192000" cy="5807075"/>
          </a:xfrm>
          <a:prstGeom prst="rect">
            <a:avLst/>
          </a:prstGeom>
          <a:noFill/>
          <a:ln w="9525">
            <a:noFill/>
            <a:miter lim="800000"/>
            <a:headEnd/>
            <a:tailEnd/>
          </a:ln>
        </p:spPr>
      </p:pic>
      <p:graphicFrame>
        <p:nvGraphicFramePr>
          <p:cNvPr id="5" name="Object 2"/>
          <p:cNvGraphicFramePr>
            <a:graphicFrameLocks noChangeAspect="1"/>
          </p:cNvGraphicFramePr>
          <p:nvPr>
            <p:custDataLst>
              <p:tags r:id="rId3"/>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4" name="think-cell Slide" r:id="rId4" imgW="12700" imgH="12700" progId="">
                  <p:embed/>
                </p:oleObj>
              </mc:Choice>
              <mc:Fallback>
                <p:oleObj name="think-cell Slide" r:id="rId4" imgW="12700" imgH="12700" progId="">
                  <p:embed/>
                  <p:pic>
                    <p:nvPicPr>
                      <p:cNvPr id="0"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6"/>
            </p:custDataLst>
          </p:nvPr>
        </p:nvSpPr>
        <p:spPr bwMode="auto">
          <a:xfrm>
            <a:off x="-1954" y="1"/>
            <a:ext cx="12193954"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1" fmla="*/ 0 w 10685085"/>
              <a:gd name="connsiteY0-2" fmla="*/ 0 h 684481"/>
              <a:gd name="connsiteX1-3" fmla="*/ 10685085 w 10685085"/>
              <a:gd name="connsiteY1-4" fmla="*/ 0 h 684481"/>
              <a:gd name="connsiteX2-5" fmla="*/ 10685085 w 10685085"/>
              <a:gd name="connsiteY2-6" fmla="*/ 684481 h 684481"/>
              <a:gd name="connsiteX3-7" fmla="*/ 525849 w 10685085"/>
              <a:gd name="connsiteY3-8" fmla="*/ 678410 h 684481"/>
              <a:gd name="connsiteX4-9" fmla="*/ 0 w 10685085"/>
              <a:gd name="connsiteY4-10" fmla="*/ 684481 h 684481"/>
              <a:gd name="connsiteX5" fmla="*/ 0 w 10685085"/>
              <a:gd name="connsiteY5" fmla="*/ 0 h 684481"/>
              <a:gd name="connsiteX0-11" fmla="*/ 0 w 10685085"/>
              <a:gd name="connsiteY0-12" fmla="*/ 0 h 684481"/>
              <a:gd name="connsiteX1-13" fmla="*/ 10685085 w 10685085"/>
              <a:gd name="connsiteY1-14" fmla="*/ 0 h 684481"/>
              <a:gd name="connsiteX2-15" fmla="*/ 10685085 w 10685085"/>
              <a:gd name="connsiteY2-16" fmla="*/ 684481 h 684481"/>
              <a:gd name="connsiteX3-17" fmla="*/ 1063736 w 10685085"/>
              <a:gd name="connsiteY3-18" fmla="*/ 670939 h 684481"/>
              <a:gd name="connsiteX4-19" fmla="*/ 525849 w 10685085"/>
              <a:gd name="connsiteY4-20" fmla="*/ 678410 h 684481"/>
              <a:gd name="connsiteX5-21" fmla="*/ 0 w 10685085"/>
              <a:gd name="connsiteY5-22" fmla="*/ 684481 h 684481"/>
              <a:gd name="connsiteX6" fmla="*/ 0 w 10685085"/>
              <a:gd name="connsiteY6" fmla="*/ 0 h 684481"/>
              <a:gd name="connsiteX0-23" fmla="*/ 0 w 10685085"/>
              <a:gd name="connsiteY0-24" fmla="*/ 0 h 684481"/>
              <a:gd name="connsiteX1-25" fmla="*/ 10685085 w 10685085"/>
              <a:gd name="connsiteY1-26" fmla="*/ 0 h 684481"/>
              <a:gd name="connsiteX2-27" fmla="*/ 10685085 w 10685085"/>
              <a:gd name="connsiteY2-28" fmla="*/ 684481 h 684481"/>
              <a:gd name="connsiteX3-29" fmla="*/ 1063736 w 10685085"/>
              <a:gd name="connsiteY3-30" fmla="*/ 670939 h 684481"/>
              <a:gd name="connsiteX4-31" fmla="*/ 525849 w 10685085"/>
              <a:gd name="connsiteY4-32" fmla="*/ 678410 h 684481"/>
              <a:gd name="connsiteX5-33" fmla="*/ 0 w 10685085"/>
              <a:gd name="connsiteY5-34" fmla="*/ 684481 h 684481"/>
              <a:gd name="connsiteX6-35" fmla="*/ 0 w 10685085"/>
              <a:gd name="connsiteY6-36" fmla="*/ 0 h 684481"/>
              <a:gd name="connsiteX0-37" fmla="*/ 0 w 10685085"/>
              <a:gd name="connsiteY0-38" fmla="*/ 0 h 1022049"/>
              <a:gd name="connsiteX1-39" fmla="*/ 10685085 w 10685085"/>
              <a:gd name="connsiteY1-40" fmla="*/ 0 h 1022049"/>
              <a:gd name="connsiteX2-41" fmla="*/ 10685085 w 10685085"/>
              <a:gd name="connsiteY2-42" fmla="*/ 684481 h 1022049"/>
              <a:gd name="connsiteX3-43" fmla="*/ 1063736 w 10685085"/>
              <a:gd name="connsiteY3-44" fmla="*/ 670939 h 1022049"/>
              <a:gd name="connsiteX4-45" fmla="*/ 533320 w 10685085"/>
              <a:gd name="connsiteY4-46" fmla="*/ 1022049 h 1022049"/>
              <a:gd name="connsiteX5-47" fmla="*/ 0 w 10685085"/>
              <a:gd name="connsiteY5-48" fmla="*/ 684481 h 1022049"/>
              <a:gd name="connsiteX6-49" fmla="*/ 0 w 10685085"/>
              <a:gd name="connsiteY6-50" fmla="*/ 0 h 1022049"/>
              <a:gd name="connsiteX0-51" fmla="*/ 0 w 10685085"/>
              <a:gd name="connsiteY0-52" fmla="*/ 0 h 1022049"/>
              <a:gd name="connsiteX1-53" fmla="*/ 10685085 w 10685085"/>
              <a:gd name="connsiteY1-54" fmla="*/ 0 h 1022049"/>
              <a:gd name="connsiteX2-55" fmla="*/ 10685085 w 10685085"/>
              <a:gd name="connsiteY2-56" fmla="*/ 684481 h 1022049"/>
              <a:gd name="connsiteX3-57" fmla="*/ 1063736 w 10685085"/>
              <a:gd name="connsiteY3-58" fmla="*/ 670939 h 1022049"/>
              <a:gd name="connsiteX4-59" fmla="*/ 533320 w 10685085"/>
              <a:gd name="connsiteY4-60" fmla="*/ 1022049 h 1022049"/>
              <a:gd name="connsiteX5-61" fmla="*/ 0 w 10685085"/>
              <a:gd name="connsiteY5-62" fmla="*/ 684481 h 1022049"/>
              <a:gd name="connsiteX6-63" fmla="*/ 0 w 10685085"/>
              <a:gd name="connsiteY6-64" fmla="*/ 0 h 1022049"/>
              <a:gd name="connsiteX0-65" fmla="*/ 0 w 10685085"/>
              <a:gd name="connsiteY0-66" fmla="*/ 0 h 1022049"/>
              <a:gd name="connsiteX1-67" fmla="*/ 10685085 w 10685085"/>
              <a:gd name="connsiteY1-68" fmla="*/ 0 h 1022049"/>
              <a:gd name="connsiteX2-69" fmla="*/ 10685085 w 10685085"/>
              <a:gd name="connsiteY2-70" fmla="*/ 684481 h 1022049"/>
              <a:gd name="connsiteX3-71" fmla="*/ 1063736 w 10685085"/>
              <a:gd name="connsiteY3-72" fmla="*/ 670939 h 1022049"/>
              <a:gd name="connsiteX4-73" fmla="*/ 533320 w 10685085"/>
              <a:gd name="connsiteY4-74" fmla="*/ 1022049 h 1022049"/>
              <a:gd name="connsiteX5-75" fmla="*/ 0 w 10685085"/>
              <a:gd name="connsiteY5-76" fmla="*/ 684481 h 1022049"/>
              <a:gd name="connsiteX6-77" fmla="*/ 0 w 10685085"/>
              <a:gd name="connsiteY6-78" fmla="*/ 0 h 1022049"/>
              <a:gd name="connsiteX0-79" fmla="*/ 0 w 10685085"/>
              <a:gd name="connsiteY0-80" fmla="*/ 0 h 1022049"/>
              <a:gd name="connsiteX1-81" fmla="*/ 10685085 w 10685085"/>
              <a:gd name="connsiteY1-82" fmla="*/ 0 h 1022049"/>
              <a:gd name="connsiteX2-83" fmla="*/ 10685085 w 10685085"/>
              <a:gd name="connsiteY2-84" fmla="*/ 684481 h 1022049"/>
              <a:gd name="connsiteX3-85" fmla="*/ 1063736 w 10685085"/>
              <a:gd name="connsiteY3-86" fmla="*/ 670939 h 1022049"/>
              <a:gd name="connsiteX4-87" fmla="*/ 533320 w 10685085"/>
              <a:gd name="connsiteY4-88" fmla="*/ 1022049 h 1022049"/>
              <a:gd name="connsiteX5-89" fmla="*/ 0 w 10685085"/>
              <a:gd name="connsiteY5-90" fmla="*/ 684481 h 1022049"/>
              <a:gd name="connsiteX6-91" fmla="*/ 0 w 10685085"/>
              <a:gd name="connsiteY6-92" fmla="*/ 0 h 1022049"/>
              <a:gd name="connsiteX0-93" fmla="*/ 0 w 10685085"/>
              <a:gd name="connsiteY0-94" fmla="*/ 0 h 1022049"/>
              <a:gd name="connsiteX1-95" fmla="*/ 10685085 w 10685085"/>
              <a:gd name="connsiteY1-96" fmla="*/ 0 h 1022049"/>
              <a:gd name="connsiteX2-97" fmla="*/ 10685085 w 10685085"/>
              <a:gd name="connsiteY2-98" fmla="*/ 684481 h 1022049"/>
              <a:gd name="connsiteX3-99" fmla="*/ 1063736 w 10685085"/>
              <a:gd name="connsiteY3-100" fmla="*/ 670939 h 1022049"/>
              <a:gd name="connsiteX4-101" fmla="*/ 533320 w 10685085"/>
              <a:gd name="connsiteY4-102" fmla="*/ 1022049 h 1022049"/>
              <a:gd name="connsiteX5-103" fmla="*/ 0 w 10685085"/>
              <a:gd name="connsiteY5-104" fmla="*/ 684481 h 1022049"/>
              <a:gd name="connsiteX6-105" fmla="*/ 0 w 10685085"/>
              <a:gd name="connsiteY6-106" fmla="*/ 0 h 1022049"/>
              <a:gd name="connsiteX0-107" fmla="*/ 0 w 10685085"/>
              <a:gd name="connsiteY0-108" fmla="*/ 0 h 1022049"/>
              <a:gd name="connsiteX1-109" fmla="*/ 10685085 w 10685085"/>
              <a:gd name="connsiteY1-110" fmla="*/ 0 h 1022049"/>
              <a:gd name="connsiteX2-111" fmla="*/ 10685085 w 10685085"/>
              <a:gd name="connsiteY2-112" fmla="*/ 684481 h 1022049"/>
              <a:gd name="connsiteX3-113" fmla="*/ 10222758 w 10685085"/>
              <a:gd name="connsiteY3-114" fmla="*/ 678410 h 1022049"/>
              <a:gd name="connsiteX4-115" fmla="*/ 1063736 w 10685085"/>
              <a:gd name="connsiteY4-116" fmla="*/ 670939 h 1022049"/>
              <a:gd name="connsiteX5-117" fmla="*/ 533320 w 10685085"/>
              <a:gd name="connsiteY5-118" fmla="*/ 1022049 h 1022049"/>
              <a:gd name="connsiteX6-119" fmla="*/ 0 w 10685085"/>
              <a:gd name="connsiteY6-120" fmla="*/ 684481 h 1022049"/>
              <a:gd name="connsiteX7" fmla="*/ 0 w 10685085"/>
              <a:gd name="connsiteY7" fmla="*/ 0 h 1022049"/>
              <a:gd name="connsiteX0-121" fmla="*/ 0 w 10685085"/>
              <a:gd name="connsiteY0-122" fmla="*/ 0 h 1022049"/>
              <a:gd name="connsiteX1-123" fmla="*/ 10685085 w 10685085"/>
              <a:gd name="connsiteY1-124" fmla="*/ 0 h 1022049"/>
              <a:gd name="connsiteX2-125" fmla="*/ 10685085 w 10685085"/>
              <a:gd name="connsiteY2-126" fmla="*/ 303491 h 1022049"/>
              <a:gd name="connsiteX3-127" fmla="*/ 10222758 w 10685085"/>
              <a:gd name="connsiteY3-128" fmla="*/ 678410 h 1022049"/>
              <a:gd name="connsiteX4-129" fmla="*/ 1063736 w 10685085"/>
              <a:gd name="connsiteY4-130" fmla="*/ 670939 h 1022049"/>
              <a:gd name="connsiteX5-131" fmla="*/ 533320 w 10685085"/>
              <a:gd name="connsiteY5-132" fmla="*/ 1022049 h 1022049"/>
              <a:gd name="connsiteX6-133" fmla="*/ 0 w 10685085"/>
              <a:gd name="connsiteY6-134" fmla="*/ 684481 h 1022049"/>
              <a:gd name="connsiteX7-135" fmla="*/ 0 w 10685085"/>
              <a:gd name="connsiteY7-136" fmla="*/ 0 h 1022049"/>
              <a:gd name="connsiteX0-137" fmla="*/ 0 w 10685085"/>
              <a:gd name="connsiteY0-138" fmla="*/ 0 h 1022049"/>
              <a:gd name="connsiteX1-139" fmla="*/ 10685085 w 10685085"/>
              <a:gd name="connsiteY1-140" fmla="*/ 0 h 1022049"/>
              <a:gd name="connsiteX2-141" fmla="*/ 10685085 w 10685085"/>
              <a:gd name="connsiteY2-142" fmla="*/ 303491 h 1022049"/>
              <a:gd name="connsiteX3-143" fmla="*/ 10222758 w 10685085"/>
              <a:gd name="connsiteY3-144" fmla="*/ 678410 h 1022049"/>
              <a:gd name="connsiteX4-145" fmla="*/ 1063736 w 10685085"/>
              <a:gd name="connsiteY4-146" fmla="*/ 670939 h 1022049"/>
              <a:gd name="connsiteX5-147" fmla="*/ 533320 w 10685085"/>
              <a:gd name="connsiteY5-148" fmla="*/ 1022049 h 1022049"/>
              <a:gd name="connsiteX6-149" fmla="*/ 0 w 10685085"/>
              <a:gd name="connsiteY6-150" fmla="*/ 684481 h 1022049"/>
              <a:gd name="connsiteX7-151" fmla="*/ 0 w 10685085"/>
              <a:gd name="connsiteY7-152" fmla="*/ 0 h 1022049"/>
              <a:gd name="connsiteX0-153" fmla="*/ 0 w 10685085"/>
              <a:gd name="connsiteY0-154" fmla="*/ 0 h 1022049"/>
              <a:gd name="connsiteX1-155" fmla="*/ 10685085 w 10685085"/>
              <a:gd name="connsiteY1-156" fmla="*/ 0 h 1022049"/>
              <a:gd name="connsiteX2-157" fmla="*/ 10685085 w 10685085"/>
              <a:gd name="connsiteY2-158" fmla="*/ 303491 h 1022049"/>
              <a:gd name="connsiteX3-159" fmla="*/ 10222758 w 10685085"/>
              <a:gd name="connsiteY3-160" fmla="*/ 678410 h 1022049"/>
              <a:gd name="connsiteX4-161" fmla="*/ 1063736 w 10685085"/>
              <a:gd name="connsiteY4-162" fmla="*/ 670939 h 1022049"/>
              <a:gd name="connsiteX5-163" fmla="*/ 533320 w 10685085"/>
              <a:gd name="connsiteY5-164" fmla="*/ 1022049 h 1022049"/>
              <a:gd name="connsiteX6-165" fmla="*/ 0 w 10685085"/>
              <a:gd name="connsiteY6-166" fmla="*/ 684481 h 1022049"/>
              <a:gd name="connsiteX7-167" fmla="*/ 0 w 10685085"/>
              <a:gd name="connsiteY7-168" fmla="*/ 0 h 1022049"/>
              <a:gd name="connsiteX0-169" fmla="*/ 0 w 10685085"/>
              <a:gd name="connsiteY0-170" fmla="*/ 0 h 1022049"/>
              <a:gd name="connsiteX1-171" fmla="*/ 10685085 w 10685085"/>
              <a:gd name="connsiteY1-172" fmla="*/ 0 h 1022049"/>
              <a:gd name="connsiteX2-173" fmla="*/ 10685085 w 10685085"/>
              <a:gd name="connsiteY2-174" fmla="*/ 303491 h 1022049"/>
              <a:gd name="connsiteX3-175" fmla="*/ 10222758 w 10685085"/>
              <a:gd name="connsiteY3-176" fmla="*/ 678410 h 1022049"/>
              <a:gd name="connsiteX4-177" fmla="*/ 1063736 w 10685085"/>
              <a:gd name="connsiteY4-178" fmla="*/ 670939 h 1022049"/>
              <a:gd name="connsiteX5-179" fmla="*/ 533320 w 10685085"/>
              <a:gd name="connsiteY5-180" fmla="*/ 1022049 h 1022049"/>
              <a:gd name="connsiteX6-181" fmla="*/ 0 w 10685085"/>
              <a:gd name="connsiteY6-182" fmla="*/ 684481 h 1022049"/>
              <a:gd name="connsiteX7-183" fmla="*/ 0 w 10685085"/>
              <a:gd name="connsiteY7-184" fmla="*/ 0 h 1022049"/>
              <a:gd name="connsiteX0-185" fmla="*/ 0 w 10685085"/>
              <a:gd name="connsiteY0-186" fmla="*/ 0 h 1022049"/>
              <a:gd name="connsiteX1-187" fmla="*/ 10685085 w 10685085"/>
              <a:gd name="connsiteY1-188" fmla="*/ 0 h 1022049"/>
              <a:gd name="connsiteX2-189" fmla="*/ 10685085 w 10685085"/>
              <a:gd name="connsiteY2-190" fmla="*/ 303491 h 1022049"/>
              <a:gd name="connsiteX3-191" fmla="*/ 10222758 w 10685085"/>
              <a:gd name="connsiteY3-192" fmla="*/ 678410 h 1022049"/>
              <a:gd name="connsiteX4-193" fmla="*/ 1063736 w 10685085"/>
              <a:gd name="connsiteY4-194" fmla="*/ 670939 h 1022049"/>
              <a:gd name="connsiteX5-195" fmla="*/ 533320 w 10685085"/>
              <a:gd name="connsiteY5-196" fmla="*/ 1022049 h 1022049"/>
              <a:gd name="connsiteX6-197" fmla="*/ 0 w 10685085"/>
              <a:gd name="connsiteY6-198" fmla="*/ 684481 h 1022049"/>
              <a:gd name="connsiteX7-199" fmla="*/ 0 w 10685085"/>
              <a:gd name="connsiteY7-200" fmla="*/ 0 h 1022049"/>
              <a:gd name="connsiteX0-201" fmla="*/ 0 w 10685085"/>
              <a:gd name="connsiteY0-202" fmla="*/ 0 h 1022049"/>
              <a:gd name="connsiteX1-203" fmla="*/ 10685085 w 10685085"/>
              <a:gd name="connsiteY1-204" fmla="*/ 0 h 1022049"/>
              <a:gd name="connsiteX2-205" fmla="*/ 10685085 w 10685085"/>
              <a:gd name="connsiteY2-206" fmla="*/ 303491 h 1022049"/>
              <a:gd name="connsiteX3-207" fmla="*/ 10222758 w 10685085"/>
              <a:gd name="connsiteY3-208" fmla="*/ 678410 h 1022049"/>
              <a:gd name="connsiteX4-209" fmla="*/ 1063736 w 10685085"/>
              <a:gd name="connsiteY4-210" fmla="*/ 670939 h 1022049"/>
              <a:gd name="connsiteX5-211" fmla="*/ 533320 w 10685085"/>
              <a:gd name="connsiteY5-212" fmla="*/ 1022049 h 1022049"/>
              <a:gd name="connsiteX6-213" fmla="*/ 0 w 10685085"/>
              <a:gd name="connsiteY6-214" fmla="*/ 684481 h 1022049"/>
              <a:gd name="connsiteX7-215" fmla="*/ 0 w 10685085"/>
              <a:gd name="connsiteY7-216" fmla="*/ 0 h 1022049"/>
              <a:gd name="connsiteX0-217" fmla="*/ 0 w 10685085"/>
              <a:gd name="connsiteY0-218" fmla="*/ 0 h 1022049"/>
              <a:gd name="connsiteX1-219" fmla="*/ 10685085 w 10685085"/>
              <a:gd name="connsiteY1-220" fmla="*/ 0 h 1022049"/>
              <a:gd name="connsiteX2-221" fmla="*/ 10685085 w 10685085"/>
              <a:gd name="connsiteY2-222" fmla="*/ 303491 h 1022049"/>
              <a:gd name="connsiteX3-223" fmla="*/ 10222758 w 10685085"/>
              <a:gd name="connsiteY3-224" fmla="*/ 678410 h 1022049"/>
              <a:gd name="connsiteX4-225" fmla="*/ 1157465 w 10685085"/>
              <a:gd name="connsiteY4-226" fmla="*/ 670939 h 1022049"/>
              <a:gd name="connsiteX5-227" fmla="*/ 533320 w 10685085"/>
              <a:gd name="connsiteY5-228" fmla="*/ 1022049 h 1022049"/>
              <a:gd name="connsiteX6-229" fmla="*/ 0 w 10685085"/>
              <a:gd name="connsiteY6-230" fmla="*/ 684481 h 1022049"/>
              <a:gd name="connsiteX7-231" fmla="*/ 0 w 10685085"/>
              <a:gd name="connsiteY7-232" fmla="*/ 0 h 1022049"/>
              <a:gd name="connsiteX0-233" fmla="*/ 0 w 10685085"/>
              <a:gd name="connsiteY0-234" fmla="*/ 0 h 1022049"/>
              <a:gd name="connsiteX1-235" fmla="*/ 10685085 w 10685085"/>
              <a:gd name="connsiteY1-236" fmla="*/ 0 h 1022049"/>
              <a:gd name="connsiteX2-237" fmla="*/ 10685085 w 10685085"/>
              <a:gd name="connsiteY2-238" fmla="*/ 303491 h 1022049"/>
              <a:gd name="connsiteX3-239" fmla="*/ 10222758 w 10685085"/>
              <a:gd name="connsiteY3-240" fmla="*/ 678410 h 1022049"/>
              <a:gd name="connsiteX4-241" fmla="*/ 1157465 w 10685085"/>
              <a:gd name="connsiteY4-242" fmla="*/ 670939 h 1022049"/>
              <a:gd name="connsiteX5-243" fmla="*/ 533320 w 10685085"/>
              <a:gd name="connsiteY5-244" fmla="*/ 1022049 h 1022049"/>
              <a:gd name="connsiteX6-245" fmla="*/ 0 w 10685085"/>
              <a:gd name="connsiteY6-246" fmla="*/ 684481 h 1022049"/>
              <a:gd name="connsiteX7-247" fmla="*/ 0 w 10685085"/>
              <a:gd name="connsiteY7-248" fmla="*/ 0 h 1022049"/>
              <a:gd name="connsiteX0-249" fmla="*/ 0 w 10685085"/>
              <a:gd name="connsiteY0-250" fmla="*/ 0 h 1022049"/>
              <a:gd name="connsiteX1-251" fmla="*/ 10685085 w 10685085"/>
              <a:gd name="connsiteY1-252" fmla="*/ 0 h 1022049"/>
              <a:gd name="connsiteX2-253" fmla="*/ 10685085 w 10685085"/>
              <a:gd name="connsiteY2-254" fmla="*/ 303491 h 1022049"/>
              <a:gd name="connsiteX3-255" fmla="*/ 10222758 w 10685085"/>
              <a:gd name="connsiteY3-256" fmla="*/ 678410 h 1022049"/>
              <a:gd name="connsiteX4-257" fmla="*/ 1157465 w 10685085"/>
              <a:gd name="connsiteY4-258" fmla="*/ 670939 h 1022049"/>
              <a:gd name="connsiteX5-259" fmla="*/ 533320 w 10685085"/>
              <a:gd name="connsiteY5-260" fmla="*/ 1022049 h 1022049"/>
              <a:gd name="connsiteX6-261" fmla="*/ 23183 w 10685085"/>
              <a:gd name="connsiteY6-262" fmla="*/ 684481 h 1022049"/>
              <a:gd name="connsiteX7-263" fmla="*/ 0 w 10685085"/>
              <a:gd name="connsiteY7-264" fmla="*/ 0 h 1022049"/>
              <a:gd name="connsiteX0-265" fmla="*/ 0 w 10673494"/>
              <a:gd name="connsiteY0-266" fmla="*/ 5825 h 1022049"/>
              <a:gd name="connsiteX1-267" fmla="*/ 10673494 w 10673494"/>
              <a:gd name="connsiteY1-268" fmla="*/ 0 h 1022049"/>
              <a:gd name="connsiteX2-269" fmla="*/ 10673494 w 10673494"/>
              <a:gd name="connsiteY2-270" fmla="*/ 303491 h 1022049"/>
              <a:gd name="connsiteX3-271" fmla="*/ 10211167 w 10673494"/>
              <a:gd name="connsiteY3-272" fmla="*/ 678410 h 1022049"/>
              <a:gd name="connsiteX4-273" fmla="*/ 1145874 w 10673494"/>
              <a:gd name="connsiteY4-274" fmla="*/ 670939 h 1022049"/>
              <a:gd name="connsiteX5-275" fmla="*/ 521729 w 10673494"/>
              <a:gd name="connsiteY5-276" fmla="*/ 1022049 h 1022049"/>
              <a:gd name="connsiteX6-277" fmla="*/ 11592 w 10673494"/>
              <a:gd name="connsiteY6-278" fmla="*/ 684481 h 1022049"/>
              <a:gd name="connsiteX7-279" fmla="*/ 0 w 10673494"/>
              <a:gd name="connsiteY7-280" fmla="*/ 5825 h 1022049"/>
              <a:gd name="connsiteX0-281" fmla="*/ 0 w 10673494"/>
              <a:gd name="connsiteY0-282" fmla="*/ 0 h 1045351"/>
              <a:gd name="connsiteX1-283" fmla="*/ 10673494 w 10673494"/>
              <a:gd name="connsiteY1-284" fmla="*/ 23302 h 1045351"/>
              <a:gd name="connsiteX2-285" fmla="*/ 10673494 w 10673494"/>
              <a:gd name="connsiteY2-286" fmla="*/ 326793 h 1045351"/>
              <a:gd name="connsiteX3-287" fmla="*/ 10211167 w 10673494"/>
              <a:gd name="connsiteY3-288" fmla="*/ 701712 h 1045351"/>
              <a:gd name="connsiteX4-289" fmla="*/ 1145874 w 10673494"/>
              <a:gd name="connsiteY4-290" fmla="*/ 694241 h 1045351"/>
              <a:gd name="connsiteX5-291" fmla="*/ 521729 w 10673494"/>
              <a:gd name="connsiteY5-292" fmla="*/ 1045351 h 1045351"/>
              <a:gd name="connsiteX6-293" fmla="*/ 11592 w 10673494"/>
              <a:gd name="connsiteY6-294" fmla="*/ 707783 h 1045351"/>
              <a:gd name="connsiteX7-295" fmla="*/ 0 w 10673494"/>
              <a:gd name="connsiteY7-296" fmla="*/ 0 h 1045351"/>
              <a:gd name="connsiteX0-297" fmla="*/ 0 w 10667698"/>
              <a:gd name="connsiteY0-298" fmla="*/ 0 h 1027875"/>
              <a:gd name="connsiteX1-299" fmla="*/ 10667698 w 10667698"/>
              <a:gd name="connsiteY1-300" fmla="*/ 5826 h 1027875"/>
              <a:gd name="connsiteX2-301" fmla="*/ 10667698 w 10667698"/>
              <a:gd name="connsiteY2-302" fmla="*/ 309317 h 1027875"/>
              <a:gd name="connsiteX3-303" fmla="*/ 10205371 w 10667698"/>
              <a:gd name="connsiteY3-304" fmla="*/ 684236 h 1027875"/>
              <a:gd name="connsiteX4-305" fmla="*/ 1140078 w 10667698"/>
              <a:gd name="connsiteY4-306" fmla="*/ 676765 h 1027875"/>
              <a:gd name="connsiteX5-307" fmla="*/ 515933 w 10667698"/>
              <a:gd name="connsiteY5-308" fmla="*/ 1027875 h 1027875"/>
              <a:gd name="connsiteX6-309" fmla="*/ 5796 w 10667698"/>
              <a:gd name="connsiteY6-310" fmla="*/ 690307 h 1027875"/>
              <a:gd name="connsiteX7-311" fmla="*/ 0 w 10667698"/>
              <a:gd name="connsiteY7-312" fmla="*/ 0 h 1027875"/>
              <a:gd name="connsiteX0-313" fmla="*/ 5796 w 10661902"/>
              <a:gd name="connsiteY0-314" fmla="*/ 0 h 1027875"/>
              <a:gd name="connsiteX1-315" fmla="*/ 10661902 w 10661902"/>
              <a:gd name="connsiteY1-316" fmla="*/ 5826 h 1027875"/>
              <a:gd name="connsiteX2-317" fmla="*/ 10661902 w 10661902"/>
              <a:gd name="connsiteY2-318" fmla="*/ 309317 h 1027875"/>
              <a:gd name="connsiteX3-319" fmla="*/ 10199575 w 10661902"/>
              <a:gd name="connsiteY3-320" fmla="*/ 684236 h 1027875"/>
              <a:gd name="connsiteX4-321" fmla="*/ 1134282 w 10661902"/>
              <a:gd name="connsiteY4-322" fmla="*/ 676765 h 1027875"/>
              <a:gd name="connsiteX5-323" fmla="*/ 510137 w 10661902"/>
              <a:gd name="connsiteY5-324" fmla="*/ 1027875 h 1027875"/>
              <a:gd name="connsiteX6-325" fmla="*/ 0 w 10661902"/>
              <a:gd name="connsiteY6-326" fmla="*/ 690307 h 1027875"/>
              <a:gd name="connsiteX7-327" fmla="*/ 5796 w 10661902"/>
              <a:gd name="connsiteY7-328" fmla="*/ 0 h 1027875"/>
              <a:gd name="connsiteX0-329" fmla="*/ 1 w 10661902"/>
              <a:gd name="connsiteY0-330" fmla="*/ 0 h 1027875"/>
              <a:gd name="connsiteX1-331" fmla="*/ 10661902 w 10661902"/>
              <a:gd name="connsiteY1-332" fmla="*/ 5826 h 1027875"/>
              <a:gd name="connsiteX2-333" fmla="*/ 10661902 w 10661902"/>
              <a:gd name="connsiteY2-334" fmla="*/ 309317 h 1027875"/>
              <a:gd name="connsiteX3-335" fmla="*/ 10199575 w 10661902"/>
              <a:gd name="connsiteY3-336" fmla="*/ 684236 h 1027875"/>
              <a:gd name="connsiteX4-337" fmla="*/ 1134282 w 10661902"/>
              <a:gd name="connsiteY4-338" fmla="*/ 676765 h 1027875"/>
              <a:gd name="connsiteX5-339" fmla="*/ 510137 w 10661902"/>
              <a:gd name="connsiteY5-340" fmla="*/ 1027875 h 1027875"/>
              <a:gd name="connsiteX6-341" fmla="*/ 0 w 10661902"/>
              <a:gd name="connsiteY6-342" fmla="*/ 690307 h 1027875"/>
              <a:gd name="connsiteX7-343" fmla="*/ 1 w 10661902"/>
              <a:gd name="connsiteY7-344" fmla="*/ 0 h 1027875"/>
              <a:gd name="connsiteX0-345" fmla="*/ 1 w 10661902"/>
              <a:gd name="connsiteY0-346" fmla="*/ 0 h 1027875"/>
              <a:gd name="connsiteX1-347" fmla="*/ 10661902 w 10661902"/>
              <a:gd name="connsiteY1-348" fmla="*/ 5826 h 1027875"/>
              <a:gd name="connsiteX2-349" fmla="*/ 10661902 w 10661902"/>
              <a:gd name="connsiteY2-350" fmla="*/ 309317 h 1027875"/>
              <a:gd name="connsiteX3-351" fmla="*/ 10199575 w 10661902"/>
              <a:gd name="connsiteY3-352" fmla="*/ 684236 h 1027875"/>
              <a:gd name="connsiteX4-353" fmla="*/ 1134282 w 10661902"/>
              <a:gd name="connsiteY4-354" fmla="*/ 676765 h 1027875"/>
              <a:gd name="connsiteX5-355" fmla="*/ 560676 w 10661902"/>
              <a:gd name="connsiteY5-356" fmla="*/ 1027875 h 1027875"/>
              <a:gd name="connsiteX6-357" fmla="*/ 0 w 10661902"/>
              <a:gd name="connsiteY6-358" fmla="*/ 690307 h 1027875"/>
              <a:gd name="connsiteX7-359" fmla="*/ 1 w 10661902"/>
              <a:gd name="connsiteY7-360" fmla="*/ 0 h 1027875"/>
              <a:gd name="connsiteX0-361" fmla="*/ 1 w 10661902"/>
              <a:gd name="connsiteY0-362" fmla="*/ 0 h 1027875"/>
              <a:gd name="connsiteX1-363" fmla="*/ 10661902 w 10661902"/>
              <a:gd name="connsiteY1-364" fmla="*/ 5826 h 1027875"/>
              <a:gd name="connsiteX2-365" fmla="*/ 10661902 w 10661902"/>
              <a:gd name="connsiteY2-366" fmla="*/ 309317 h 1027875"/>
              <a:gd name="connsiteX3-367" fmla="*/ 10199575 w 10661902"/>
              <a:gd name="connsiteY3-368" fmla="*/ 684236 h 1027875"/>
              <a:gd name="connsiteX4-369" fmla="*/ 1137441 w 10661902"/>
              <a:gd name="connsiteY4-370" fmla="*/ 689465 h 1027875"/>
              <a:gd name="connsiteX5-371" fmla="*/ 560676 w 10661902"/>
              <a:gd name="connsiteY5-372" fmla="*/ 1027875 h 1027875"/>
              <a:gd name="connsiteX6-373" fmla="*/ 0 w 10661902"/>
              <a:gd name="connsiteY6-374" fmla="*/ 690307 h 1027875"/>
              <a:gd name="connsiteX7-375" fmla="*/ 1 w 10661902"/>
              <a:gd name="connsiteY7-376" fmla="*/ 0 h 1027875"/>
              <a:gd name="connsiteX0-377" fmla="*/ 1 w 10661902"/>
              <a:gd name="connsiteY0-378" fmla="*/ 0 h 1027875"/>
              <a:gd name="connsiteX1-379" fmla="*/ 10661902 w 10661902"/>
              <a:gd name="connsiteY1-380" fmla="*/ 5826 h 1027875"/>
              <a:gd name="connsiteX2-381" fmla="*/ 10661902 w 10661902"/>
              <a:gd name="connsiteY2-382" fmla="*/ 309317 h 1027875"/>
              <a:gd name="connsiteX3-383" fmla="*/ 10199575 w 10661902"/>
              <a:gd name="connsiteY3-384" fmla="*/ 684236 h 1027875"/>
              <a:gd name="connsiteX4-385" fmla="*/ 1143758 w 10661902"/>
              <a:gd name="connsiteY4-386" fmla="*/ 629140 h 1027875"/>
              <a:gd name="connsiteX5-387" fmla="*/ 560676 w 10661902"/>
              <a:gd name="connsiteY5-388" fmla="*/ 1027875 h 1027875"/>
              <a:gd name="connsiteX6-389" fmla="*/ 0 w 10661902"/>
              <a:gd name="connsiteY6-390" fmla="*/ 690307 h 1027875"/>
              <a:gd name="connsiteX7-391" fmla="*/ 1 w 10661902"/>
              <a:gd name="connsiteY7-392" fmla="*/ 0 h 1027875"/>
              <a:gd name="connsiteX0-393" fmla="*/ 1 w 10661902"/>
              <a:gd name="connsiteY0-394" fmla="*/ 0 h 1027875"/>
              <a:gd name="connsiteX1-395" fmla="*/ 10661902 w 10661902"/>
              <a:gd name="connsiteY1-396" fmla="*/ 5826 h 1027875"/>
              <a:gd name="connsiteX2-397" fmla="*/ 10661902 w 10661902"/>
              <a:gd name="connsiteY2-398" fmla="*/ 309317 h 1027875"/>
              <a:gd name="connsiteX3-399" fmla="*/ 10199575 w 10661902"/>
              <a:gd name="connsiteY3-400" fmla="*/ 684236 h 1027875"/>
              <a:gd name="connsiteX4-401" fmla="*/ 1140599 w 10661902"/>
              <a:gd name="connsiteY4-402" fmla="*/ 686290 h 1027875"/>
              <a:gd name="connsiteX5-403" fmla="*/ 560676 w 10661902"/>
              <a:gd name="connsiteY5-404" fmla="*/ 1027875 h 1027875"/>
              <a:gd name="connsiteX6-405" fmla="*/ 0 w 10661902"/>
              <a:gd name="connsiteY6-406" fmla="*/ 690307 h 1027875"/>
              <a:gd name="connsiteX7-407" fmla="*/ 1 w 10661902"/>
              <a:gd name="connsiteY7-408" fmla="*/ 0 h 1027875"/>
              <a:gd name="connsiteX0-409" fmla="*/ 1 w 10661902"/>
              <a:gd name="connsiteY0-410" fmla="*/ 0 h 1027875"/>
              <a:gd name="connsiteX1-411" fmla="*/ 10661902 w 10661902"/>
              <a:gd name="connsiteY1-412" fmla="*/ 5826 h 1027875"/>
              <a:gd name="connsiteX2-413" fmla="*/ 10661902 w 10661902"/>
              <a:gd name="connsiteY2-414" fmla="*/ 309317 h 1027875"/>
              <a:gd name="connsiteX3-415" fmla="*/ 10199575 w 10661902"/>
              <a:gd name="connsiteY3-416" fmla="*/ 684236 h 1027875"/>
              <a:gd name="connsiteX4-417" fmla="*/ 1140599 w 10661902"/>
              <a:gd name="connsiteY4-418" fmla="*/ 686290 h 1027875"/>
              <a:gd name="connsiteX5-419" fmla="*/ 560676 w 10661902"/>
              <a:gd name="connsiteY5-420" fmla="*/ 1027875 h 1027875"/>
              <a:gd name="connsiteX6-421" fmla="*/ 0 w 10661902"/>
              <a:gd name="connsiteY6-422" fmla="*/ 690307 h 1027875"/>
              <a:gd name="connsiteX7-423" fmla="*/ 1 w 10661902"/>
              <a:gd name="connsiteY7-424" fmla="*/ 0 h 1027875"/>
              <a:gd name="connsiteX0-425" fmla="*/ 1 w 10661902"/>
              <a:gd name="connsiteY0-426" fmla="*/ 0 h 1027875"/>
              <a:gd name="connsiteX1-427" fmla="*/ 10661902 w 10661902"/>
              <a:gd name="connsiteY1-428" fmla="*/ 5826 h 1027875"/>
              <a:gd name="connsiteX2-429" fmla="*/ 10661902 w 10661902"/>
              <a:gd name="connsiteY2-430" fmla="*/ 309317 h 1027875"/>
              <a:gd name="connsiteX3-431" fmla="*/ 10199575 w 10661902"/>
              <a:gd name="connsiteY3-432" fmla="*/ 684236 h 1027875"/>
              <a:gd name="connsiteX4-433" fmla="*/ 1140599 w 10661902"/>
              <a:gd name="connsiteY4-434" fmla="*/ 686290 h 1027875"/>
              <a:gd name="connsiteX5-435" fmla="*/ 560676 w 10661902"/>
              <a:gd name="connsiteY5-436" fmla="*/ 1027875 h 1027875"/>
              <a:gd name="connsiteX6-437" fmla="*/ 0 w 10661902"/>
              <a:gd name="connsiteY6-438" fmla="*/ 690307 h 1027875"/>
              <a:gd name="connsiteX7-439" fmla="*/ 1 w 10661902"/>
              <a:gd name="connsiteY7-440" fmla="*/ 0 h 1027875"/>
              <a:gd name="connsiteX0-441" fmla="*/ 1 w 10661902"/>
              <a:gd name="connsiteY0-442" fmla="*/ 0 h 1027875"/>
              <a:gd name="connsiteX1-443" fmla="*/ 10661902 w 10661902"/>
              <a:gd name="connsiteY1-444" fmla="*/ 5826 h 1027875"/>
              <a:gd name="connsiteX2-445" fmla="*/ 10661902 w 10661902"/>
              <a:gd name="connsiteY2-446" fmla="*/ 309317 h 1027875"/>
              <a:gd name="connsiteX3-447" fmla="*/ 10199575 w 10661902"/>
              <a:gd name="connsiteY3-448" fmla="*/ 684236 h 1027875"/>
              <a:gd name="connsiteX4-449" fmla="*/ 1140599 w 10661902"/>
              <a:gd name="connsiteY4-450" fmla="*/ 686290 h 1027875"/>
              <a:gd name="connsiteX5-451" fmla="*/ 560676 w 10661902"/>
              <a:gd name="connsiteY5-452" fmla="*/ 1027875 h 1027875"/>
              <a:gd name="connsiteX6-453" fmla="*/ 0 w 10661902"/>
              <a:gd name="connsiteY6-454" fmla="*/ 690307 h 1027875"/>
              <a:gd name="connsiteX7-455" fmla="*/ 1 w 10661902"/>
              <a:gd name="connsiteY7-456" fmla="*/ 0 h 1027875"/>
              <a:gd name="connsiteX0-457" fmla="*/ 1 w 10661902"/>
              <a:gd name="connsiteY0-458" fmla="*/ 0 h 1027875"/>
              <a:gd name="connsiteX1-459" fmla="*/ 10661902 w 10661902"/>
              <a:gd name="connsiteY1-460" fmla="*/ 5826 h 1027875"/>
              <a:gd name="connsiteX2-461" fmla="*/ 10661902 w 10661902"/>
              <a:gd name="connsiteY2-462" fmla="*/ 309317 h 1027875"/>
              <a:gd name="connsiteX3-463" fmla="*/ 10199575 w 10661902"/>
              <a:gd name="connsiteY3-464" fmla="*/ 684236 h 1027875"/>
              <a:gd name="connsiteX4-465" fmla="*/ 1140599 w 10661902"/>
              <a:gd name="connsiteY4-466" fmla="*/ 686290 h 1027875"/>
              <a:gd name="connsiteX5-467" fmla="*/ 560676 w 10661902"/>
              <a:gd name="connsiteY5-468" fmla="*/ 1027875 h 1027875"/>
              <a:gd name="connsiteX6-469" fmla="*/ 0 w 10661902"/>
              <a:gd name="connsiteY6-470" fmla="*/ 690307 h 1027875"/>
              <a:gd name="connsiteX7-471" fmla="*/ 1 w 10661902"/>
              <a:gd name="connsiteY7-472" fmla="*/ 0 h 1027875"/>
              <a:gd name="connsiteX0-473" fmla="*/ 0 w 10661901"/>
              <a:gd name="connsiteY0-474" fmla="*/ 0 h 1027875"/>
              <a:gd name="connsiteX1-475" fmla="*/ 10661901 w 10661901"/>
              <a:gd name="connsiteY1-476" fmla="*/ 5826 h 1027875"/>
              <a:gd name="connsiteX2-477" fmla="*/ 10661901 w 10661901"/>
              <a:gd name="connsiteY2-478" fmla="*/ 309317 h 1027875"/>
              <a:gd name="connsiteX3-479" fmla="*/ 10199574 w 10661901"/>
              <a:gd name="connsiteY3-480" fmla="*/ 684236 h 1027875"/>
              <a:gd name="connsiteX4-481" fmla="*/ 1140598 w 10661901"/>
              <a:gd name="connsiteY4-482" fmla="*/ 686290 h 1027875"/>
              <a:gd name="connsiteX5-483" fmla="*/ 560675 w 10661901"/>
              <a:gd name="connsiteY5-484" fmla="*/ 1027875 h 1027875"/>
              <a:gd name="connsiteX6-485" fmla="*/ 3158 w 10661901"/>
              <a:gd name="connsiteY6-486" fmla="*/ 674432 h 1027875"/>
              <a:gd name="connsiteX7-487" fmla="*/ 0 w 10661901"/>
              <a:gd name="connsiteY7-488" fmla="*/ 0 h 1027875"/>
              <a:gd name="connsiteX0-489" fmla="*/ 0 w 10661901"/>
              <a:gd name="connsiteY0-490" fmla="*/ 0 h 1027875"/>
              <a:gd name="connsiteX1-491" fmla="*/ 10661901 w 10661901"/>
              <a:gd name="connsiteY1-492" fmla="*/ 5826 h 1027875"/>
              <a:gd name="connsiteX2-493" fmla="*/ 10661901 w 10661901"/>
              <a:gd name="connsiteY2-494" fmla="*/ 309317 h 1027875"/>
              <a:gd name="connsiteX3-495" fmla="*/ 10199574 w 10661901"/>
              <a:gd name="connsiteY3-496" fmla="*/ 684236 h 1027875"/>
              <a:gd name="connsiteX4-497" fmla="*/ 1140598 w 10661901"/>
              <a:gd name="connsiteY4-498" fmla="*/ 686290 h 1027875"/>
              <a:gd name="connsiteX5-499" fmla="*/ 560675 w 10661901"/>
              <a:gd name="connsiteY5-500" fmla="*/ 1027875 h 1027875"/>
              <a:gd name="connsiteX6-501" fmla="*/ 3158 w 10661901"/>
              <a:gd name="connsiteY6-502" fmla="*/ 683957 h 1027875"/>
              <a:gd name="connsiteX7-503" fmla="*/ 0 w 10661901"/>
              <a:gd name="connsiteY7-504" fmla="*/ 0 h 1027875"/>
              <a:gd name="connsiteX0-505" fmla="*/ 0 w 10710088"/>
              <a:gd name="connsiteY0-506" fmla="*/ 0 h 1027875"/>
              <a:gd name="connsiteX1-507" fmla="*/ 10661901 w 10710088"/>
              <a:gd name="connsiteY1-508" fmla="*/ 5826 h 1027875"/>
              <a:gd name="connsiteX2-509" fmla="*/ 10661901 w 10710088"/>
              <a:gd name="connsiteY2-510" fmla="*/ 309317 h 1027875"/>
              <a:gd name="connsiteX3-511" fmla="*/ 10668871 w 10710088"/>
              <a:gd name="connsiteY3-512" fmla="*/ 684236 h 1027875"/>
              <a:gd name="connsiteX4-513" fmla="*/ 1140598 w 10710088"/>
              <a:gd name="connsiteY4-514" fmla="*/ 686290 h 1027875"/>
              <a:gd name="connsiteX5-515" fmla="*/ 560675 w 10710088"/>
              <a:gd name="connsiteY5-516" fmla="*/ 1027875 h 1027875"/>
              <a:gd name="connsiteX6-517" fmla="*/ 3158 w 10710088"/>
              <a:gd name="connsiteY6-518" fmla="*/ 683957 h 1027875"/>
              <a:gd name="connsiteX7-519" fmla="*/ 0 w 10710088"/>
              <a:gd name="connsiteY7-520" fmla="*/ 0 h 1027875"/>
              <a:gd name="connsiteX0-521" fmla="*/ 0 w 10668871"/>
              <a:gd name="connsiteY0-522" fmla="*/ 0 h 1027875"/>
              <a:gd name="connsiteX1-523" fmla="*/ 10661901 w 10668871"/>
              <a:gd name="connsiteY1-524" fmla="*/ 5826 h 1027875"/>
              <a:gd name="connsiteX2-525" fmla="*/ 10668871 w 10668871"/>
              <a:gd name="connsiteY2-526" fmla="*/ 684236 h 1027875"/>
              <a:gd name="connsiteX3-527" fmla="*/ 1140598 w 10668871"/>
              <a:gd name="connsiteY3-528" fmla="*/ 686290 h 1027875"/>
              <a:gd name="connsiteX4-529" fmla="*/ 560675 w 10668871"/>
              <a:gd name="connsiteY4-530" fmla="*/ 1027875 h 1027875"/>
              <a:gd name="connsiteX5-531" fmla="*/ 3158 w 10668871"/>
              <a:gd name="connsiteY5-532" fmla="*/ 683957 h 1027875"/>
              <a:gd name="connsiteX6-533" fmla="*/ 0 w 10668871"/>
              <a:gd name="connsiteY6-534" fmla="*/ 0 h 1027875"/>
              <a:gd name="connsiteX0-535" fmla="*/ 0 w 10662015"/>
              <a:gd name="connsiteY0-536" fmla="*/ 0 h 1027875"/>
              <a:gd name="connsiteX1-537" fmla="*/ 10661901 w 10662015"/>
              <a:gd name="connsiteY1-538" fmla="*/ 5826 h 1027875"/>
              <a:gd name="connsiteX2-539" fmla="*/ 10632772 w 10662015"/>
              <a:gd name="connsiteY2-540" fmla="*/ 684236 h 1027875"/>
              <a:gd name="connsiteX3-541" fmla="*/ 1140598 w 10662015"/>
              <a:gd name="connsiteY3-542" fmla="*/ 686290 h 1027875"/>
              <a:gd name="connsiteX4-543" fmla="*/ 560675 w 10662015"/>
              <a:gd name="connsiteY4-544" fmla="*/ 1027875 h 1027875"/>
              <a:gd name="connsiteX5-545" fmla="*/ 3158 w 10662015"/>
              <a:gd name="connsiteY5-546" fmla="*/ 683957 h 1027875"/>
              <a:gd name="connsiteX6-547" fmla="*/ 0 w 10662015"/>
              <a:gd name="connsiteY6-548" fmla="*/ 0 h 1027875"/>
              <a:gd name="connsiteX0-549" fmla="*/ 0 w 10632772"/>
              <a:gd name="connsiteY0-550" fmla="*/ 0 h 1027875"/>
              <a:gd name="connsiteX1-551" fmla="*/ 10616776 w 10632772"/>
              <a:gd name="connsiteY1-552" fmla="*/ 559150 h 1027875"/>
              <a:gd name="connsiteX2-553" fmla="*/ 10632772 w 10632772"/>
              <a:gd name="connsiteY2-554" fmla="*/ 684236 h 1027875"/>
              <a:gd name="connsiteX3-555" fmla="*/ 1140598 w 10632772"/>
              <a:gd name="connsiteY3-556" fmla="*/ 686290 h 1027875"/>
              <a:gd name="connsiteX4-557" fmla="*/ 560675 w 10632772"/>
              <a:gd name="connsiteY4-558" fmla="*/ 1027875 h 1027875"/>
              <a:gd name="connsiteX5-559" fmla="*/ 3158 w 10632772"/>
              <a:gd name="connsiteY5-560" fmla="*/ 683957 h 1027875"/>
              <a:gd name="connsiteX6-561" fmla="*/ 0 w 10632772"/>
              <a:gd name="connsiteY6-562" fmla="*/ 0 h 1027875"/>
              <a:gd name="connsiteX0-563" fmla="*/ 5867 w 10629614"/>
              <a:gd name="connsiteY0-564" fmla="*/ 12316 h 468725"/>
              <a:gd name="connsiteX1-565" fmla="*/ 10613618 w 10629614"/>
              <a:gd name="connsiteY1-566" fmla="*/ 0 h 468725"/>
              <a:gd name="connsiteX2-567" fmla="*/ 10629614 w 10629614"/>
              <a:gd name="connsiteY2-568" fmla="*/ 125086 h 468725"/>
              <a:gd name="connsiteX3-569" fmla="*/ 1137440 w 10629614"/>
              <a:gd name="connsiteY3-570" fmla="*/ 127140 h 468725"/>
              <a:gd name="connsiteX4-571" fmla="*/ 557517 w 10629614"/>
              <a:gd name="connsiteY4-572" fmla="*/ 468725 h 468725"/>
              <a:gd name="connsiteX5-573" fmla="*/ 0 w 10629614"/>
              <a:gd name="connsiteY5-574" fmla="*/ 124807 h 468725"/>
              <a:gd name="connsiteX6-575" fmla="*/ 5867 w 10629614"/>
              <a:gd name="connsiteY6-576" fmla="*/ 12316 h 468725"/>
              <a:gd name="connsiteX0-577" fmla="*/ 0 w 10636382"/>
              <a:gd name="connsiteY0-578" fmla="*/ 12316 h 468725"/>
              <a:gd name="connsiteX1-579" fmla="*/ 10620386 w 10636382"/>
              <a:gd name="connsiteY1-580" fmla="*/ 0 h 468725"/>
              <a:gd name="connsiteX2-581" fmla="*/ 10636382 w 10636382"/>
              <a:gd name="connsiteY2-582" fmla="*/ 125086 h 468725"/>
              <a:gd name="connsiteX3-583" fmla="*/ 1144208 w 10636382"/>
              <a:gd name="connsiteY3-584" fmla="*/ 127140 h 468725"/>
              <a:gd name="connsiteX4-585" fmla="*/ 564285 w 10636382"/>
              <a:gd name="connsiteY4-586" fmla="*/ 468725 h 468725"/>
              <a:gd name="connsiteX5-587" fmla="*/ 6768 w 10636382"/>
              <a:gd name="connsiteY5-588" fmla="*/ 124807 h 468725"/>
              <a:gd name="connsiteX6-589" fmla="*/ 0 w 10636382"/>
              <a:gd name="connsiteY6-590" fmla="*/ 12316 h 468725"/>
              <a:gd name="connsiteX0-591" fmla="*/ 239608 w 10629614"/>
              <a:gd name="connsiteY0-592" fmla="*/ 21841 h 468725"/>
              <a:gd name="connsiteX1-593" fmla="*/ 10613618 w 10629614"/>
              <a:gd name="connsiteY1-594" fmla="*/ 0 h 468725"/>
              <a:gd name="connsiteX2-595" fmla="*/ 10629614 w 10629614"/>
              <a:gd name="connsiteY2-596" fmla="*/ 125086 h 468725"/>
              <a:gd name="connsiteX3-597" fmla="*/ 1137440 w 10629614"/>
              <a:gd name="connsiteY3-598" fmla="*/ 127140 h 468725"/>
              <a:gd name="connsiteX4-599" fmla="*/ 557517 w 10629614"/>
              <a:gd name="connsiteY4-600" fmla="*/ 468725 h 468725"/>
              <a:gd name="connsiteX5-601" fmla="*/ 0 w 10629614"/>
              <a:gd name="connsiteY5-602" fmla="*/ 124807 h 468725"/>
              <a:gd name="connsiteX6-603" fmla="*/ 239608 w 10629614"/>
              <a:gd name="connsiteY6-604" fmla="*/ 21841 h 468725"/>
              <a:gd name="connsiteX0-605" fmla="*/ 239608 w 10629614"/>
              <a:gd name="connsiteY0-606" fmla="*/ 21841 h 468725"/>
              <a:gd name="connsiteX1-607" fmla="*/ 10613618 w 10629614"/>
              <a:gd name="connsiteY1-608" fmla="*/ 0 h 468725"/>
              <a:gd name="connsiteX2-609" fmla="*/ 10629614 w 10629614"/>
              <a:gd name="connsiteY2-610" fmla="*/ 125086 h 468725"/>
              <a:gd name="connsiteX3-611" fmla="*/ 1137440 w 10629614"/>
              <a:gd name="connsiteY3-612" fmla="*/ 127140 h 468725"/>
              <a:gd name="connsiteX4-613" fmla="*/ 557517 w 10629614"/>
              <a:gd name="connsiteY4-614" fmla="*/ 468725 h 468725"/>
              <a:gd name="connsiteX5-615" fmla="*/ 0 w 10629614"/>
              <a:gd name="connsiteY5-616" fmla="*/ 124807 h 468725"/>
              <a:gd name="connsiteX6-617" fmla="*/ 239608 w 10629614"/>
              <a:gd name="connsiteY6-618" fmla="*/ 21841 h 468725"/>
              <a:gd name="connsiteX0-619" fmla="*/ 0 w 10630065"/>
              <a:gd name="connsiteY0-620" fmla="*/ 2791 h 468725"/>
              <a:gd name="connsiteX1-621" fmla="*/ 10614069 w 10630065"/>
              <a:gd name="connsiteY1-622" fmla="*/ 0 h 468725"/>
              <a:gd name="connsiteX2-623" fmla="*/ 10630065 w 10630065"/>
              <a:gd name="connsiteY2-624" fmla="*/ 125086 h 468725"/>
              <a:gd name="connsiteX3-625" fmla="*/ 1137891 w 10630065"/>
              <a:gd name="connsiteY3-626" fmla="*/ 127140 h 468725"/>
              <a:gd name="connsiteX4-627" fmla="*/ 557968 w 10630065"/>
              <a:gd name="connsiteY4-628" fmla="*/ 468725 h 468725"/>
              <a:gd name="connsiteX5-629" fmla="*/ 451 w 10630065"/>
              <a:gd name="connsiteY5-630" fmla="*/ 124807 h 468725"/>
              <a:gd name="connsiteX6-631" fmla="*/ 0 w 10630065"/>
              <a:gd name="connsiteY6-632" fmla="*/ 2791 h 468725"/>
              <a:gd name="connsiteX0-633" fmla="*/ 0 w 10630065"/>
              <a:gd name="connsiteY0-634" fmla="*/ 2791 h 468725"/>
              <a:gd name="connsiteX1-635" fmla="*/ 10614069 w 10630065"/>
              <a:gd name="connsiteY1-636" fmla="*/ 0 h 468725"/>
              <a:gd name="connsiteX2-637" fmla="*/ 10630065 w 10630065"/>
              <a:gd name="connsiteY2-638" fmla="*/ 125086 h 468725"/>
              <a:gd name="connsiteX3-639" fmla="*/ 1137891 w 10630065"/>
              <a:gd name="connsiteY3-640" fmla="*/ 127140 h 468725"/>
              <a:gd name="connsiteX4-641" fmla="*/ 557968 w 10630065"/>
              <a:gd name="connsiteY4-642" fmla="*/ 468725 h 468725"/>
              <a:gd name="connsiteX5-643" fmla="*/ 451 w 10630065"/>
              <a:gd name="connsiteY5-644" fmla="*/ 124807 h 468725"/>
              <a:gd name="connsiteX6-645" fmla="*/ 0 w 10630065"/>
              <a:gd name="connsiteY6-646" fmla="*/ 2791 h 468725"/>
              <a:gd name="connsiteX0-647" fmla="*/ 0 w 10630556"/>
              <a:gd name="connsiteY0-648" fmla="*/ 2791 h 468725"/>
              <a:gd name="connsiteX1-649" fmla="*/ 10629862 w 10630556"/>
              <a:gd name="connsiteY1-650" fmla="*/ 0 h 468725"/>
              <a:gd name="connsiteX2-651" fmla="*/ 10630065 w 10630556"/>
              <a:gd name="connsiteY2-652" fmla="*/ 125086 h 468725"/>
              <a:gd name="connsiteX3-653" fmla="*/ 1137891 w 10630556"/>
              <a:gd name="connsiteY3-654" fmla="*/ 127140 h 468725"/>
              <a:gd name="connsiteX4-655" fmla="*/ 557968 w 10630556"/>
              <a:gd name="connsiteY4-656" fmla="*/ 468725 h 468725"/>
              <a:gd name="connsiteX5-657" fmla="*/ 451 w 10630556"/>
              <a:gd name="connsiteY5-658" fmla="*/ 124807 h 468725"/>
              <a:gd name="connsiteX6-659" fmla="*/ 0 w 10630556"/>
              <a:gd name="connsiteY6-660" fmla="*/ 2791 h 468725"/>
              <a:gd name="connsiteX0-661" fmla="*/ 0 w 10630556"/>
              <a:gd name="connsiteY0-662" fmla="*/ 2791 h 468725"/>
              <a:gd name="connsiteX1-663" fmla="*/ 10629862 w 10630556"/>
              <a:gd name="connsiteY1-664" fmla="*/ 0 h 468725"/>
              <a:gd name="connsiteX2-665" fmla="*/ 10630065 w 10630556"/>
              <a:gd name="connsiteY2-666" fmla="*/ 125086 h 468725"/>
              <a:gd name="connsiteX3-667" fmla="*/ 1137891 w 10630556"/>
              <a:gd name="connsiteY3-668" fmla="*/ 127140 h 468725"/>
              <a:gd name="connsiteX4-669" fmla="*/ 557968 w 10630556"/>
              <a:gd name="connsiteY4-670" fmla="*/ 468725 h 468725"/>
              <a:gd name="connsiteX5-671" fmla="*/ 75946 w 10630556"/>
              <a:gd name="connsiteY5-672" fmla="*/ 125867 h 468725"/>
              <a:gd name="connsiteX6-673" fmla="*/ 451 w 10630556"/>
              <a:gd name="connsiteY6-674" fmla="*/ 124807 h 468725"/>
              <a:gd name="connsiteX7-675" fmla="*/ 0 w 10630556"/>
              <a:gd name="connsiteY7-676" fmla="*/ 2791 h 468725"/>
              <a:gd name="connsiteX0-677" fmla="*/ 0 w 10630556"/>
              <a:gd name="connsiteY0-678" fmla="*/ 2791 h 468725"/>
              <a:gd name="connsiteX1-679" fmla="*/ 10629862 w 10630556"/>
              <a:gd name="connsiteY1-680" fmla="*/ 0 h 468725"/>
              <a:gd name="connsiteX2-681" fmla="*/ 10630065 w 10630556"/>
              <a:gd name="connsiteY2-682" fmla="*/ 125086 h 468725"/>
              <a:gd name="connsiteX3-683" fmla="*/ 1137891 w 10630556"/>
              <a:gd name="connsiteY3-684" fmla="*/ 127140 h 468725"/>
              <a:gd name="connsiteX4-685" fmla="*/ 557968 w 10630556"/>
              <a:gd name="connsiteY4-686" fmla="*/ 468725 h 468725"/>
              <a:gd name="connsiteX5-687" fmla="*/ 75946 w 10630556"/>
              <a:gd name="connsiteY5-688" fmla="*/ 125867 h 468725"/>
              <a:gd name="connsiteX6-689" fmla="*/ 451 w 10630556"/>
              <a:gd name="connsiteY6-690" fmla="*/ 124807 h 468725"/>
              <a:gd name="connsiteX7-691" fmla="*/ 0 w 10630556"/>
              <a:gd name="connsiteY7-692" fmla="*/ 2791 h 468725"/>
              <a:gd name="connsiteX0-693" fmla="*/ 0 w 10630556"/>
              <a:gd name="connsiteY0-694" fmla="*/ 2791 h 468725"/>
              <a:gd name="connsiteX1-695" fmla="*/ 10629862 w 10630556"/>
              <a:gd name="connsiteY1-696" fmla="*/ 0 h 468725"/>
              <a:gd name="connsiteX2-697" fmla="*/ 10630065 w 10630556"/>
              <a:gd name="connsiteY2-698" fmla="*/ 125086 h 468725"/>
              <a:gd name="connsiteX3-699" fmla="*/ 1137891 w 10630556"/>
              <a:gd name="connsiteY3-700" fmla="*/ 127140 h 468725"/>
              <a:gd name="connsiteX4-701" fmla="*/ 557968 w 10630556"/>
              <a:gd name="connsiteY4-702" fmla="*/ 468725 h 468725"/>
              <a:gd name="connsiteX5-703" fmla="*/ 75946 w 10630556"/>
              <a:gd name="connsiteY5-704" fmla="*/ 125867 h 468725"/>
              <a:gd name="connsiteX6-705" fmla="*/ 451 w 10630556"/>
              <a:gd name="connsiteY6-706" fmla="*/ 124807 h 468725"/>
              <a:gd name="connsiteX7-707" fmla="*/ 0 w 10630556"/>
              <a:gd name="connsiteY7-708" fmla="*/ 2791 h 468725"/>
              <a:gd name="connsiteX0-709" fmla="*/ 782750 w 11413306"/>
              <a:gd name="connsiteY0-710" fmla="*/ 2791 h 468725"/>
              <a:gd name="connsiteX1-711" fmla="*/ 11412612 w 11413306"/>
              <a:gd name="connsiteY1-712" fmla="*/ 0 h 468725"/>
              <a:gd name="connsiteX2-713" fmla="*/ 11412815 w 11413306"/>
              <a:gd name="connsiteY2-714" fmla="*/ 125086 h 468725"/>
              <a:gd name="connsiteX3-715" fmla="*/ 1920641 w 11413306"/>
              <a:gd name="connsiteY3-716" fmla="*/ 127140 h 468725"/>
              <a:gd name="connsiteX4-717" fmla="*/ 1340718 w 11413306"/>
              <a:gd name="connsiteY4-718" fmla="*/ 468725 h 468725"/>
              <a:gd name="connsiteX5-719" fmla="*/ 858696 w 11413306"/>
              <a:gd name="connsiteY5-720" fmla="*/ 125867 h 468725"/>
              <a:gd name="connsiteX6-721" fmla="*/ 782750 w 11413306"/>
              <a:gd name="connsiteY6-722" fmla="*/ 2791 h 468725"/>
              <a:gd name="connsiteX0-723" fmla="*/ 802813 w 11357561"/>
              <a:gd name="connsiteY0-724" fmla="*/ 2791 h 468725"/>
              <a:gd name="connsiteX1-725" fmla="*/ 11356867 w 11357561"/>
              <a:gd name="connsiteY1-726" fmla="*/ 0 h 468725"/>
              <a:gd name="connsiteX2-727" fmla="*/ 11357070 w 11357561"/>
              <a:gd name="connsiteY2-728" fmla="*/ 125086 h 468725"/>
              <a:gd name="connsiteX3-729" fmla="*/ 1864896 w 11357561"/>
              <a:gd name="connsiteY3-730" fmla="*/ 127140 h 468725"/>
              <a:gd name="connsiteX4-731" fmla="*/ 1284973 w 11357561"/>
              <a:gd name="connsiteY4-732" fmla="*/ 468725 h 468725"/>
              <a:gd name="connsiteX5-733" fmla="*/ 802951 w 11357561"/>
              <a:gd name="connsiteY5-734" fmla="*/ 125867 h 468725"/>
              <a:gd name="connsiteX6-735" fmla="*/ 802813 w 11357561"/>
              <a:gd name="connsiteY6-736" fmla="*/ 2791 h 468725"/>
              <a:gd name="connsiteX0-737" fmla="*/ 341552 w 10896300"/>
              <a:gd name="connsiteY0-738" fmla="*/ 2791 h 468725"/>
              <a:gd name="connsiteX1-739" fmla="*/ 10895606 w 10896300"/>
              <a:gd name="connsiteY1-740" fmla="*/ 0 h 468725"/>
              <a:gd name="connsiteX2-741" fmla="*/ 10895809 w 10896300"/>
              <a:gd name="connsiteY2-742" fmla="*/ 125086 h 468725"/>
              <a:gd name="connsiteX3-743" fmla="*/ 1403635 w 10896300"/>
              <a:gd name="connsiteY3-744" fmla="*/ 127140 h 468725"/>
              <a:gd name="connsiteX4-745" fmla="*/ 823712 w 10896300"/>
              <a:gd name="connsiteY4-746" fmla="*/ 468725 h 468725"/>
              <a:gd name="connsiteX5-747" fmla="*/ 341690 w 10896300"/>
              <a:gd name="connsiteY5-748" fmla="*/ 125867 h 468725"/>
              <a:gd name="connsiteX6-749" fmla="*/ 341552 w 10896300"/>
              <a:gd name="connsiteY6-750" fmla="*/ 2791 h 468725"/>
              <a:gd name="connsiteX0-751" fmla="*/ 41143 w 10595891"/>
              <a:gd name="connsiteY0-752" fmla="*/ 2791 h 468725"/>
              <a:gd name="connsiteX1-753" fmla="*/ 10595197 w 10595891"/>
              <a:gd name="connsiteY1-754" fmla="*/ 0 h 468725"/>
              <a:gd name="connsiteX2-755" fmla="*/ 10595400 w 10595891"/>
              <a:gd name="connsiteY2-756" fmla="*/ 125086 h 468725"/>
              <a:gd name="connsiteX3-757" fmla="*/ 1103226 w 10595891"/>
              <a:gd name="connsiteY3-758" fmla="*/ 127140 h 468725"/>
              <a:gd name="connsiteX4-759" fmla="*/ 523303 w 10595891"/>
              <a:gd name="connsiteY4-760" fmla="*/ 468725 h 468725"/>
              <a:gd name="connsiteX5-761" fmla="*/ 41281 w 10595891"/>
              <a:gd name="connsiteY5-762" fmla="*/ 125867 h 468725"/>
              <a:gd name="connsiteX6-763" fmla="*/ 41143 w 10595891"/>
              <a:gd name="connsiteY6-764" fmla="*/ 2791 h 468725"/>
              <a:gd name="connsiteX0-765" fmla="*/ 433 w 10555181"/>
              <a:gd name="connsiteY0-766" fmla="*/ 2791 h 468725"/>
              <a:gd name="connsiteX1-767" fmla="*/ 10554487 w 10555181"/>
              <a:gd name="connsiteY1-768" fmla="*/ 0 h 468725"/>
              <a:gd name="connsiteX2-769" fmla="*/ 10554690 w 10555181"/>
              <a:gd name="connsiteY2-770" fmla="*/ 125086 h 468725"/>
              <a:gd name="connsiteX3-771" fmla="*/ 1062516 w 10555181"/>
              <a:gd name="connsiteY3-772" fmla="*/ 127140 h 468725"/>
              <a:gd name="connsiteX4-773" fmla="*/ 482593 w 10555181"/>
              <a:gd name="connsiteY4-774" fmla="*/ 468725 h 468725"/>
              <a:gd name="connsiteX5-775" fmla="*/ 571 w 10555181"/>
              <a:gd name="connsiteY5-776" fmla="*/ 125867 h 468725"/>
              <a:gd name="connsiteX6-777" fmla="*/ 433 w 10555181"/>
              <a:gd name="connsiteY6-778" fmla="*/ 2791 h 468725"/>
              <a:gd name="connsiteX0-779" fmla="*/ 433 w 10555181"/>
              <a:gd name="connsiteY0-780" fmla="*/ 2791 h 468725"/>
              <a:gd name="connsiteX1-781" fmla="*/ 10554487 w 10555181"/>
              <a:gd name="connsiteY1-782" fmla="*/ 0 h 468725"/>
              <a:gd name="connsiteX2-783" fmla="*/ 10554690 w 10555181"/>
              <a:gd name="connsiteY2-784" fmla="*/ 125086 h 468725"/>
              <a:gd name="connsiteX3-785" fmla="*/ 1062516 w 10555181"/>
              <a:gd name="connsiteY3-786" fmla="*/ 127140 h 468725"/>
              <a:gd name="connsiteX4-787" fmla="*/ 482593 w 10555181"/>
              <a:gd name="connsiteY4-788" fmla="*/ 468725 h 468725"/>
              <a:gd name="connsiteX5-789" fmla="*/ 571 w 10555181"/>
              <a:gd name="connsiteY5-790" fmla="*/ 125867 h 468725"/>
              <a:gd name="connsiteX6-791" fmla="*/ 433 w 10555181"/>
              <a:gd name="connsiteY6-792" fmla="*/ 2791 h 468725"/>
              <a:gd name="connsiteX0-793" fmla="*/ 433 w 10555181"/>
              <a:gd name="connsiteY0-794" fmla="*/ 2791 h 468725"/>
              <a:gd name="connsiteX1-795" fmla="*/ 10554487 w 10555181"/>
              <a:gd name="connsiteY1-796" fmla="*/ 0 h 468725"/>
              <a:gd name="connsiteX2-797" fmla="*/ 10554690 w 10555181"/>
              <a:gd name="connsiteY2-798" fmla="*/ 125086 h 468725"/>
              <a:gd name="connsiteX3-799" fmla="*/ 1062516 w 10555181"/>
              <a:gd name="connsiteY3-800" fmla="*/ 127140 h 468725"/>
              <a:gd name="connsiteX4-801" fmla="*/ 482593 w 10555181"/>
              <a:gd name="connsiteY4-802" fmla="*/ 468725 h 468725"/>
              <a:gd name="connsiteX5-803" fmla="*/ 571 w 10555181"/>
              <a:gd name="connsiteY5-804" fmla="*/ 125867 h 468725"/>
              <a:gd name="connsiteX6-805" fmla="*/ 433 w 10555181"/>
              <a:gd name="connsiteY6-806" fmla="*/ 2791 h 468725"/>
              <a:gd name="connsiteX0-807" fmla="*/ 433 w 10555181"/>
              <a:gd name="connsiteY0-808" fmla="*/ 2791 h 468725"/>
              <a:gd name="connsiteX1-809" fmla="*/ 10554487 w 10555181"/>
              <a:gd name="connsiteY1-810" fmla="*/ 0 h 468725"/>
              <a:gd name="connsiteX2-811" fmla="*/ 10554690 w 10555181"/>
              <a:gd name="connsiteY2-812" fmla="*/ 125086 h 468725"/>
              <a:gd name="connsiteX3-813" fmla="*/ 1062516 w 10555181"/>
              <a:gd name="connsiteY3-814" fmla="*/ 127140 h 468725"/>
              <a:gd name="connsiteX4-815" fmla="*/ 482593 w 10555181"/>
              <a:gd name="connsiteY4-816" fmla="*/ 468725 h 468725"/>
              <a:gd name="connsiteX5-817" fmla="*/ 571 w 10555181"/>
              <a:gd name="connsiteY5-818" fmla="*/ 125867 h 468725"/>
              <a:gd name="connsiteX6-819" fmla="*/ 433 w 10555181"/>
              <a:gd name="connsiteY6-820" fmla="*/ 2791 h 468725"/>
              <a:gd name="connsiteX0-821" fmla="*/ 433 w 10555181"/>
              <a:gd name="connsiteY0-822" fmla="*/ 2791 h 468725"/>
              <a:gd name="connsiteX1-823" fmla="*/ 10554487 w 10555181"/>
              <a:gd name="connsiteY1-824" fmla="*/ 0 h 468725"/>
              <a:gd name="connsiteX2-825" fmla="*/ 10554690 w 10555181"/>
              <a:gd name="connsiteY2-826" fmla="*/ 125086 h 468725"/>
              <a:gd name="connsiteX3-827" fmla="*/ 1062516 w 10555181"/>
              <a:gd name="connsiteY3-828" fmla="*/ 127140 h 468725"/>
              <a:gd name="connsiteX4-829" fmla="*/ 482593 w 10555181"/>
              <a:gd name="connsiteY4-830" fmla="*/ 468725 h 468725"/>
              <a:gd name="connsiteX5-831" fmla="*/ 571 w 10555181"/>
              <a:gd name="connsiteY5-832" fmla="*/ 125867 h 468725"/>
              <a:gd name="connsiteX6-833" fmla="*/ 433 w 10555181"/>
              <a:gd name="connsiteY6-834" fmla="*/ 2791 h 468725"/>
              <a:gd name="connsiteX0-835" fmla="*/ 433 w 10555181"/>
              <a:gd name="connsiteY0-836" fmla="*/ 2791 h 468725"/>
              <a:gd name="connsiteX1-837" fmla="*/ 10554487 w 10555181"/>
              <a:gd name="connsiteY1-838" fmla="*/ 0 h 468725"/>
              <a:gd name="connsiteX2-839" fmla="*/ 10554690 w 10555181"/>
              <a:gd name="connsiteY2-840" fmla="*/ 125086 h 468725"/>
              <a:gd name="connsiteX3-841" fmla="*/ 1062516 w 10555181"/>
              <a:gd name="connsiteY3-842" fmla="*/ 127140 h 468725"/>
              <a:gd name="connsiteX4-843" fmla="*/ 482593 w 10555181"/>
              <a:gd name="connsiteY4-844" fmla="*/ 468725 h 468725"/>
              <a:gd name="connsiteX5-845" fmla="*/ 571 w 10555181"/>
              <a:gd name="connsiteY5-846" fmla="*/ 125867 h 468725"/>
              <a:gd name="connsiteX6-847" fmla="*/ 433 w 10555181"/>
              <a:gd name="connsiteY6-848" fmla="*/ 2791 h 468725"/>
              <a:gd name="connsiteX0-849" fmla="*/ 433 w 10555181"/>
              <a:gd name="connsiteY0-850" fmla="*/ 2791 h 468725"/>
              <a:gd name="connsiteX1-851" fmla="*/ 10554487 w 10555181"/>
              <a:gd name="connsiteY1-852" fmla="*/ 0 h 468725"/>
              <a:gd name="connsiteX2-853" fmla="*/ 10554690 w 10555181"/>
              <a:gd name="connsiteY2-854" fmla="*/ 125086 h 468725"/>
              <a:gd name="connsiteX3-855" fmla="*/ 1062516 w 10555181"/>
              <a:gd name="connsiteY3-856" fmla="*/ 127140 h 468725"/>
              <a:gd name="connsiteX4-857" fmla="*/ 482593 w 10555181"/>
              <a:gd name="connsiteY4-858" fmla="*/ 468725 h 468725"/>
              <a:gd name="connsiteX5-859" fmla="*/ 571 w 10555181"/>
              <a:gd name="connsiteY5-860" fmla="*/ 125867 h 468725"/>
              <a:gd name="connsiteX6-861" fmla="*/ 433 w 10555181"/>
              <a:gd name="connsiteY6-862" fmla="*/ 2791 h 468725"/>
              <a:gd name="connsiteX0-863" fmla="*/ 433 w 10555181"/>
              <a:gd name="connsiteY0-864" fmla="*/ 2791 h 468725"/>
              <a:gd name="connsiteX1-865" fmla="*/ 10554487 w 10555181"/>
              <a:gd name="connsiteY1-866" fmla="*/ 0 h 468725"/>
              <a:gd name="connsiteX2-867" fmla="*/ 10554690 w 10555181"/>
              <a:gd name="connsiteY2-868" fmla="*/ 125086 h 468725"/>
              <a:gd name="connsiteX3-869" fmla="*/ 1062516 w 10555181"/>
              <a:gd name="connsiteY3-870" fmla="*/ 127140 h 468725"/>
              <a:gd name="connsiteX4-871" fmla="*/ 482593 w 10555181"/>
              <a:gd name="connsiteY4-872" fmla="*/ 468725 h 468725"/>
              <a:gd name="connsiteX5-873" fmla="*/ 571 w 10555181"/>
              <a:gd name="connsiteY5-874" fmla="*/ 139671 h 468725"/>
              <a:gd name="connsiteX6-875" fmla="*/ 433 w 10555181"/>
              <a:gd name="connsiteY6-876" fmla="*/ 2791 h 468725"/>
              <a:gd name="connsiteX0-877" fmla="*/ 433 w 10555181"/>
              <a:gd name="connsiteY0-878" fmla="*/ 2791 h 468725"/>
              <a:gd name="connsiteX1-879" fmla="*/ 10554487 w 10555181"/>
              <a:gd name="connsiteY1-880" fmla="*/ 0 h 468725"/>
              <a:gd name="connsiteX2-881" fmla="*/ 10554690 w 10555181"/>
              <a:gd name="connsiteY2-882" fmla="*/ 125086 h 468725"/>
              <a:gd name="connsiteX3-883" fmla="*/ 1062516 w 10555181"/>
              <a:gd name="connsiteY3-884" fmla="*/ 127140 h 468725"/>
              <a:gd name="connsiteX4-885" fmla="*/ 482593 w 10555181"/>
              <a:gd name="connsiteY4-886" fmla="*/ 468725 h 468725"/>
              <a:gd name="connsiteX5-887" fmla="*/ 571 w 10555181"/>
              <a:gd name="connsiteY5-888" fmla="*/ 139671 h 468725"/>
              <a:gd name="connsiteX6-889" fmla="*/ 433 w 10555181"/>
              <a:gd name="connsiteY6-890" fmla="*/ 2791 h 468725"/>
              <a:gd name="connsiteX0-891" fmla="*/ 433 w 10555181"/>
              <a:gd name="connsiteY0-892" fmla="*/ 2791 h 468725"/>
              <a:gd name="connsiteX1-893" fmla="*/ 10554487 w 10555181"/>
              <a:gd name="connsiteY1-894" fmla="*/ 0 h 468725"/>
              <a:gd name="connsiteX2-895" fmla="*/ 10554690 w 10555181"/>
              <a:gd name="connsiteY2-896" fmla="*/ 125086 h 468725"/>
              <a:gd name="connsiteX3-897" fmla="*/ 1062516 w 10555181"/>
              <a:gd name="connsiteY3-898" fmla="*/ 127140 h 468725"/>
              <a:gd name="connsiteX4-899" fmla="*/ 482593 w 10555181"/>
              <a:gd name="connsiteY4-900" fmla="*/ 468725 h 468725"/>
              <a:gd name="connsiteX5-901" fmla="*/ 571 w 10555181"/>
              <a:gd name="connsiteY5-902" fmla="*/ 139671 h 468725"/>
              <a:gd name="connsiteX6-903" fmla="*/ 433 w 10555181"/>
              <a:gd name="connsiteY6-904" fmla="*/ 2791 h 468725"/>
              <a:gd name="connsiteX0-905" fmla="*/ 433 w 10555181"/>
              <a:gd name="connsiteY0-906" fmla="*/ 44066 h 468725"/>
              <a:gd name="connsiteX1-907" fmla="*/ 10554487 w 10555181"/>
              <a:gd name="connsiteY1-908" fmla="*/ 0 h 468725"/>
              <a:gd name="connsiteX2-909" fmla="*/ 10554690 w 10555181"/>
              <a:gd name="connsiteY2-910" fmla="*/ 125086 h 468725"/>
              <a:gd name="connsiteX3-911" fmla="*/ 1062516 w 10555181"/>
              <a:gd name="connsiteY3-912" fmla="*/ 127140 h 468725"/>
              <a:gd name="connsiteX4-913" fmla="*/ 482593 w 10555181"/>
              <a:gd name="connsiteY4-914" fmla="*/ 468725 h 468725"/>
              <a:gd name="connsiteX5-915" fmla="*/ 571 w 10555181"/>
              <a:gd name="connsiteY5-916" fmla="*/ 139671 h 468725"/>
              <a:gd name="connsiteX6-917" fmla="*/ 433 w 10555181"/>
              <a:gd name="connsiteY6-918" fmla="*/ 44066 h 468725"/>
              <a:gd name="connsiteX0-919" fmla="*/ 433 w 10554690"/>
              <a:gd name="connsiteY0-920" fmla="*/ 5966 h 430625"/>
              <a:gd name="connsiteX1-921" fmla="*/ 10551351 w 10554690"/>
              <a:gd name="connsiteY1-922" fmla="*/ 0 h 430625"/>
              <a:gd name="connsiteX2-923" fmla="*/ 10554690 w 10554690"/>
              <a:gd name="connsiteY2-924" fmla="*/ 86986 h 430625"/>
              <a:gd name="connsiteX3-925" fmla="*/ 1062516 w 10554690"/>
              <a:gd name="connsiteY3-926" fmla="*/ 89040 h 430625"/>
              <a:gd name="connsiteX4-927" fmla="*/ 482593 w 10554690"/>
              <a:gd name="connsiteY4-928" fmla="*/ 430625 h 430625"/>
              <a:gd name="connsiteX5-929" fmla="*/ 571 w 10554690"/>
              <a:gd name="connsiteY5-930" fmla="*/ 101571 h 430625"/>
              <a:gd name="connsiteX6-931" fmla="*/ 433 w 10554690"/>
              <a:gd name="connsiteY6-932" fmla="*/ 5966 h 430625"/>
              <a:gd name="connsiteX0-933" fmla="*/ 433 w 10554690"/>
              <a:gd name="connsiteY0-934" fmla="*/ 5966 h 427450"/>
              <a:gd name="connsiteX1-935" fmla="*/ 10551351 w 10554690"/>
              <a:gd name="connsiteY1-936" fmla="*/ 0 h 427450"/>
              <a:gd name="connsiteX2-937" fmla="*/ 10554690 w 10554690"/>
              <a:gd name="connsiteY2-938" fmla="*/ 86986 h 427450"/>
              <a:gd name="connsiteX3-939" fmla="*/ 1062516 w 10554690"/>
              <a:gd name="connsiteY3-940" fmla="*/ 89040 h 427450"/>
              <a:gd name="connsiteX4-941" fmla="*/ 482593 w 10554690"/>
              <a:gd name="connsiteY4-942" fmla="*/ 427450 h 427450"/>
              <a:gd name="connsiteX5-943" fmla="*/ 571 w 10554690"/>
              <a:gd name="connsiteY5-944" fmla="*/ 101571 h 427450"/>
              <a:gd name="connsiteX6-945" fmla="*/ 433 w 10554690"/>
              <a:gd name="connsiteY6-946" fmla="*/ 5966 h 427450"/>
              <a:gd name="connsiteX0-947" fmla="*/ 433 w 10554690"/>
              <a:gd name="connsiteY0-948" fmla="*/ 5966 h 427450"/>
              <a:gd name="connsiteX1-949" fmla="*/ 10551351 w 10554690"/>
              <a:gd name="connsiteY1-950" fmla="*/ 0 h 427450"/>
              <a:gd name="connsiteX2-951" fmla="*/ 10554690 w 10554690"/>
              <a:gd name="connsiteY2-952" fmla="*/ 86986 h 427450"/>
              <a:gd name="connsiteX3-953" fmla="*/ 10274940 w 10554690"/>
              <a:gd name="connsiteY3-954" fmla="*/ 87717 h 427450"/>
              <a:gd name="connsiteX4-955" fmla="*/ 1062516 w 10554690"/>
              <a:gd name="connsiteY4-956" fmla="*/ 89040 h 427450"/>
              <a:gd name="connsiteX5-957" fmla="*/ 482593 w 10554690"/>
              <a:gd name="connsiteY5-958" fmla="*/ 427450 h 427450"/>
              <a:gd name="connsiteX6-959" fmla="*/ 571 w 10554690"/>
              <a:gd name="connsiteY6-960" fmla="*/ 101571 h 427450"/>
              <a:gd name="connsiteX7-961" fmla="*/ 433 w 10554690"/>
              <a:gd name="connsiteY7-962" fmla="*/ 5966 h 427450"/>
              <a:gd name="connsiteX0-963" fmla="*/ 433 w 10554691"/>
              <a:gd name="connsiteY0-964" fmla="*/ 75754 h 497238"/>
              <a:gd name="connsiteX1-965" fmla="*/ 10551351 w 10554691"/>
              <a:gd name="connsiteY1-966" fmla="*/ 69788 h 497238"/>
              <a:gd name="connsiteX2-967" fmla="*/ 10554691 w 10554691"/>
              <a:gd name="connsiteY2-968" fmla="*/ 64699 h 497238"/>
              <a:gd name="connsiteX3-969" fmla="*/ 10274940 w 10554691"/>
              <a:gd name="connsiteY3-970" fmla="*/ 157505 h 497238"/>
              <a:gd name="connsiteX4-971" fmla="*/ 1062516 w 10554691"/>
              <a:gd name="connsiteY4-972" fmla="*/ 158828 h 497238"/>
              <a:gd name="connsiteX5-973" fmla="*/ 482593 w 10554691"/>
              <a:gd name="connsiteY5-974" fmla="*/ 497238 h 497238"/>
              <a:gd name="connsiteX6-975" fmla="*/ 571 w 10554691"/>
              <a:gd name="connsiteY6-976" fmla="*/ 171359 h 497238"/>
              <a:gd name="connsiteX7-977" fmla="*/ 433 w 10554691"/>
              <a:gd name="connsiteY7-978" fmla="*/ 75754 h 497238"/>
              <a:gd name="connsiteX0-979" fmla="*/ 433 w 10554691"/>
              <a:gd name="connsiteY0-980" fmla="*/ 75754 h 497238"/>
              <a:gd name="connsiteX1-981" fmla="*/ 10551351 w 10554691"/>
              <a:gd name="connsiteY1-982" fmla="*/ 69788 h 497238"/>
              <a:gd name="connsiteX2-983" fmla="*/ 10554691 w 10554691"/>
              <a:gd name="connsiteY2-984" fmla="*/ 64699 h 497238"/>
              <a:gd name="connsiteX3-985" fmla="*/ 10274940 w 10554691"/>
              <a:gd name="connsiteY3-986" fmla="*/ 157505 h 497238"/>
              <a:gd name="connsiteX4-987" fmla="*/ 1062516 w 10554691"/>
              <a:gd name="connsiteY4-988" fmla="*/ 158828 h 497238"/>
              <a:gd name="connsiteX5-989" fmla="*/ 482593 w 10554691"/>
              <a:gd name="connsiteY5-990" fmla="*/ 497238 h 497238"/>
              <a:gd name="connsiteX6-991" fmla="*/ 571 w 10554691"/>
              <a:gd name="connsiteY6-992" fmla="*/ 171359 h 497238"/>
              <a:gd name="connsiteX7-993" fmla="*/ 433 w 10554691"/>
              <a:gd name="connsiteY7-994" fmla="*/ 75754 h 497238"/>
              <a:gd name="connsiteX0-995" fmla="*/ 433 w 10554691"/>
              <a:gd name="connsiteY0-996" fmla="*/ 75754 h 497238"/>
              <a:gd name="connsiteX1-997" fmla="*/ 10551351 w 10554691"/>
              <a:gd name="connsiteY1-998" fmla="*/ 69788 h 497238"/>
              <a:gd name="connsiteX2-999" fmla="*/ 10554691 w 10554691"/>
              <a:gd name="connsiteY2-1000" fmla="*/ 64699 h 497238"/>
              <a:gd name="connsiteX3-1001" fmla="*/ 10274940 w 10554691"/>
              <a:gd name="connsiteY3-1002" fmla="*/ 157505 h 497238"/>
              <a:gd name="connsiteX4-1003" fmla="*/ 1062516 w 10554691"/>
              <a:gd name="connsiteY4-1004" fmla="*/ 158828 h 497238"/>
              <a:gd name="connsiteX5-1005" fmla="*/ 482593 w 10554691"/>
              <a:gd name="connsiteY5-1006" fmla="*/ 497238 h 497238"/>
              <a:gd name="connsiteX6-1007" fmla="*/ 571 w 10554691"/>
              <a:gd name="connsiteY6-1008" fmla="*/ 171359 h 497238"/>
              <a:gd name="connsiteX7-1009" fmla="*/ 433 w 10554691"/>
              <a:gd name="connsiteY7-1010" fmla="*/ 75754 h 497238"/>
              <a:gd name="connsiteX0-1011" fmla="*/ 433 w 10554691"/>
              <a:gd name="connsiteY0-1012" fmla="*/ 60438 h 481922"/>
              <a:gd name="connsiteX1-1013" fmla="*/ 10551351 w 10554691"/>
              <a:gd name="connsiteY1-1014" fmla="*/ 54472 h 481922"/>
              <a:gd name="connsiteX2-1015" fmla="*/ 10554691 w 10554691"/>
              <a:gd name="connsiteY2-1016" fmla="*/ 49383 h 481922"/>
              <a:gd name="connsiteX3-1017" fmla="*/ 10274940 w 10554691"/>
              <a:gd name="connsiteY3-1018" fmla="*/ 142189 h 481922"/>
              <a:gd name="connsiteX4-1019" fmla="*/ 1062516 w 10554691"/>
              <a:gd name="connsiteY4-1020" fmla="*/ 143512 h 481922"/>
              <a:gd name="connsiteX5-1021" fmla="*/ 482593 w 10554691"/>
              <a:gd name="connsiteY5-1022" fmla="*/ 481922 h 481922"/>
              <a:gd name="connsiteX6-1023" fmla="*/ 571 w 10554691"/>
              <a:gd name="connsiteY6-1024" fmla="*/ 156043 h 481922"/>
              <a:gd name="connsiteX7-1025" fmla="*/ 433 w 10554691"/>
              <a:gd name="connsiteY7-1026" fmla="*/ 60438 h 481922"/>
              <a:gd name="connsiteX0-1027" fmla="*/ 433 w 11661532"/>
              <a:gd name="connsiteY0-1028" fmla="*/ 5966 h 427450"/>
              <a:gd name="connsiteX1-1029" fmla="*/ 10551351 w 11661532"/>
              <a:gd name="connsiteY1-1030" fmla="*/ 0 h 427450"/>
              <a:gd name="connsiteX2-1031" fmla="*/ 10274940 w 11661532"/>
              <a:gd name="connsiteY2-1032" fmla="*/ 87717 h 427450"/>
              <a:gd name="connsiteX3-1033" fmla="*/ 1062516 w 11661532"/>
              <a:gd name="connsiteY3-1034" fmla="*/ 89040 h 427450"/>
              <a:gd name="connsiteX4-1035" fmla="*/ 482593 w 11661532"/>
              <a:gd name="connsiteY4-1036" fmla="*/ 427450 h 427450"/>
              <a:gd name="connsiteX5-1037" fmla="*/ 571 w 11661532"/>
              <a:gd name="connsiteY5-1038" fmla="*/ 101571 h 427450"/>
              <a:gd name="connsiteX6-1039" fmla="*/ 433 w 11661532"/>
              <a:gd name="connsiteY6-1040" fmla="*/ 5966 h 427450"/>
              <a:gd name="connsiteX0-1041" fmla="*/ 433 w 11071037"/>
              <a:gd name="connsiteY0-1042" fmla="*/ 6015 h 427499"/>
              <a:gd name="connsiteX1-1043" fmla="*/ 10551351 w 11071037"/>
              <a:gd name="connsiteY1-1044" fmla="*/ 49 h 427499"/>
              <a:gd name="connsiteX2-1045" fmla="*/ 10274940 w 11071037"/>
              <a:gd name="connsiteY2-1046" fmla="*/ 87766 h 427499"/>
              <a:gd name="connsiteX3-1047" fmla="*/ 1062516 w 11071037"/>
              <a:gd name="connsiteY3-1048" fmla="*/ 89089 h 427499"/>
              <a:gd name="connsiteX4-1049" fmla="*/ 482593 w 11071037"/>
              <a:gd name="connsiteY4-1050" fmla="*/ 427499 h 427499"/>
              <a:gd name="connsiteX5-1051" fmla="*/ 571 w 11071037"/>
              <a:gd name="connsiteY5-1052" fmla="*/ 101620 h 427499"/>
              <a:gd name="connsiteX6-1053" fmla="*/ 433 w 11071037"/>
              <a:gd name="connsiteY6-1054" fmla="*/ 6015 h 427499"/>
              <a:gd name="connsiteX0-1055" fmla="*/ 433 w 11057538"/>
              <a:gd name="connsiteY0-1056" fmla="*/ 5966 h 427450"/>
              <a:gd name="connsiteX1-1057" fmla="*/ 10551351 w 11057538"/>
              <a:gd name="connsiteY1-1058" fmla="*/ 0 h 427450"/>
              <a:gd name="connsiteX2-1059" fmla="*/ 10274940 w 11057538"/>
              <a:gd name="connsiteY2-1060" fmla="*/ 87717 h 427450"/>
              <a:gd name="connsiteX3-1061" fmla="*/ 1062516 w 11057538"/>
              <a:gd name="connsiteY3-1062" fmla="*/ 89040 h 427450"/>
              <a:gd name="connsiteX4-1063" fmla="*/ 482593 w 11057538"/>
              <a:gd name="connsiteY4-1064" fmla="*/ 427450 h 427450"/>
              <a:gd name="connsiteX5-1065" fmla="*/ 571 w 11057538"/>
              <a:gd name="connsiteY5-1066" fmla="*/ 101571 h 427450"/>
              <a:gd name="connsiteX6-1067" fmla="*/ 433 w 11057538"/>
              <a:gd name="connsiteY6-1068" fmla="*/ 5966 h 427450"/>
              <a:gd name="connsiteX0-1069" fmla="*/ 433 w 10551351"/>
              <a:gd name="connsiteY0-1070" fmla="*/ 5966 h 427450"/>
              <a:gd name="connsiteX1-1071" fmla="*/ 10551351 w 10551351"/>
              <a:gd name="connsiteY1-1072" fmla="*/ 0 h 427450"/>
              <a:gd name="connsiteX2-1073" fmla="*/ 10274940 w 10551351"/>
              <a:gd name="connsiteY2-1074" fmla="*/ 87717 h 427450"/>
              <a:gd name="connsiteX3-1075" fmla="*/ 1062516 w 10551351"/>
              <a:gd name="connsiteY3-1076" fmla="*/ 89040 h 427450"/>
              <a:gd name="connsiteX4-1077" fmla="*/ 482593 w 10551351"/>
              <a:gd name="connsiteY4-1078" fmla="*/ 427450 h 427450"/>
              <a:gd name="connsiteX5-1079" fmla="*/ 571 w 10551351"/>
              <a:gd name="connsiteY5-1080" fmla="*/ 101571 h 427450"/>
              <a:gd name="connsiteX6-1081" fmla="*/ 433 w 10551351"/>
              <a:gd name="connsiteY6-1082" fmla="*/ 5966 h 427450"/>
              <a:gd name="connsiteX0-1083" fmla="*/ 433 w 10551351"/>
              <a:gd name="connsiteY0-1084" fmla="*/ 5966 h 341725"/>
              <a:gd name="connsiteX1-1085" fmla="*/ 10551351 w 10551351"/>
              <a:gd name="connsiteY1-1086" fmla="*/ 0 h 341725"/>
              <a:gd name="connsiteX2-1087" fmla="*/ 10274940 w 10551351"/>
              <a:gd name="connsiteY2-1088" fmla="*/ 87717 h 341725"/>
              <a:gd name="connsiteX3-1089" fmla="*/ 1062516 w 10551351"/>
              <a:gd name="connsiteY3-1090" fmla="*/ 89040 h 341725"/>
              <a:gd name="connsiteX4-1091" fmla="*/ 482593 w 10551351"/>
              <a:gd name="connsiteY4-1092" fmla="*/ 341725 h 341725"/>
              <a:gd name="connsiteX5-1093" fmla="*/ 571 w 10551351"/>
              <a:gd name="connsiteY5-1094" fmla="*/ 101571 h 341725"/>
              <a:gd name="connsiteX6-1095" fmla="*/ 433 w 10551351"/>
              <a:gd name="connsiteY6-1096" fmla="*/ 5966 h 341725"/>
              <a:gd name="connsiteX0-1097" fmla="*/ 433 w 10551351"/>
              <a:gd name="connsiteY0-1098" fmla="*/ 5966 h 341725"/>
              <a:gd name="connsiteX1-1099" fmla="*/ 10551351 w 10551351"/>
              <a:gd name="connsiteY1-1100" fmla="*/ 0 h 341725"/>
              <a:gd name="connsiteX2-1101" fmla="*/ 10274940 w 10551351"/>
              <a:gd name="connsiteY2-1102" fmla="*/ 87717 h 341725"/>
              <a:gd name="connsiteX3-1103" fmla="*/ 1062516 w 10551351"/>
              <a:gd name="connsiteY3-1104" fmla="*/ 89040 h 341725"/>
              <a:gd name="connsiteX4-1105" fmla="*/ 482593 w 10551351"/>
              <a:gd name="connsiteY4-1106" fmla="*/ 341725 h 341725"/>
              <a:gd name="connsiteX5-1107" fmla="*/ 571 w 10551351"/>
              <a:gd name="connsiteY5-1108" fmla="*/ 101571 h 341725"/>
              <a:gd name="connsiteX6-1109" fmla="*/ 433 w 10551351"/>
              <a:gd name="connsiteY6-1110" fmla="*/ 5966 h 341725"/>
              <a:gd name="connsiteX0-1111" fmla="*/ 433 w 10551351"/>
              <a:gd name="connsiteY0-1112" fmla="*/ 5966 h 341725"/>
              <a:gd name="connsiteX1-1113" fmla="*/ 10551351 w 10551351"/>
              <a:gd name="connsiteY1-1114" fmla="*/ 0 h 341725"/>
              <a:gd name="connsiteX2-1115" fmla="*/ 10274940 w 10551351"/>
              <a:gd name="connsiteY2-1116" fmla="*/ 87717 h 341725"/>
              <a:gd name="connsiteX3-1117" fmla="*/ 1062516 w 10551351"/>
              <a:gd name="connsiteY3-1118" fmla="*/ 89040 h 341725"/>
              <a:gd name="connsiteX4-1119" fmla="*/ 482593 w 10551351"/>
              <a:gd name="connsiteY4-1120" fmla="*/ 341725 h 341725"/>
              <a:gd name="connsiteX5-1121" fmla="*/ 571 w 10551351"/>
              <a:gd name="connsiteY5-1122" fmla="*/ 101571 h 341725"/>
              <a:gd name="connsiteX6-1123" fmla="*/ 433 w 10551351"/>
              <a:gd name="connsiteY6-1124" fmla="*/ 5966 h 341725"/>
              <a:gd name="connsiteX0-1125" fmla="*/ 433 w 10551351"/>
              <a:gd name="connsiteY0-1126" fmla="*/ 5966 h 341725"/>
              <a:gd name="connsiteX1-1127" fmla="*/ 10551351 w 10551351"/>
              <a:gd name="connsiteY1-1128" fmla="*/ 0 h 341725"/>
              <a:gd name="connsiteX2-1129" fmla="*/ 10274940 w 10551351"/>
              <a:gd name="connsiteY2-1130" fmla="*/ 87717 h 341725"/>
              <a:gd name="connsiteX3-1131" fmla="*/ 1062516 w 10551351"/>
              <a:gd name="connsiteY3-1132" fmla="*/ 89040 h 341725"/>
              <a:gd name="connsiteX4-1133" fmla="*/ 482593 w 10551351"/>
              <a:gd name="connsiteY4-1134" fmla="*/ 341725 h 341725"/>
              <a:gd name="connsiteX5-1135" fmla="*/ 571 w 10551351"/>
              <a:gd name="connsiteY5-1136" fmla="*/ 101571 h 341725"/>
              <a:gd name="connsiteX6-1137" fmla="*/ 433 w 10551351"/>
              <a:gd name="connsiteY6-1138" fmla="*/ 5966 h 341725"/>
              <a:gd name="connsiteX0-1139" fmla="*/ 0 w 11177990"/>
              <a:gd name="connsiteY0-1140" fmla="*/ 2791 h 341725"/>
              <a:gd name="connsiteX1-1141" fmla="*/ 11177990 w 11177990"/>
              <a:gd name="connsiteY1-1142" fmla="*/ 0 h 341725"/>
              <a:gd name="connsiteX2-1143" fmla="*/ 10901579 w 11177990"/>
              <a:gd name="connsiteY2-1144" fmla="*/ 87717 h 341725"/>
              <a:gd name="connsiteX3-1145" fmla="*/ 1689155 w 11177990"/>
              <a:gd name="connsiteY3-1146" fmla="*/ 89040 h 341725"/>
              <a:gd name="connsiteX4-1147" fmla="*/ 1109232 w 11177990"/>
              <a:gd name="connsiteY4-1148" fmla="*/ 341725 h 341725"/>
              <a:gd name="connsiteX5-1149" fmla="*/ 627210 w 11177990"/>
              <a:gd name="connsiteY5-1150" fmla="*/ 101571 h 341725"/>
              <a:gd name="connsiteX6-1151" fmla="*/ 0 w 11177990"/>
              <a:gd name="connsiteY6-1152" fmla="*/ 2791 h 341725"/>
              <a:gd name="connsiteX0-1153" fmla="*/ 780014 w 11958004"/>
              <a:gd name="connsiteY0-1154" fmla="*/ 2791 h 341725"/>
              <a:gd name="connsiteX1-1155" fmla="*/ 11958004 w 11958004"/>
              <a:gd name="connsiteY1-1156" fmla="*/ 0 h 341725"/>
              <a:gd name="connsiteX2-1157" fmla="*/ 11681593 w 11958004"/>
              <a:gd name="connsiteY2-1158" fmla="*/ 87717 h 341725"/>
              <a:gd name="connsiteX3-1159" fmla="*/ 2469169 w 11958004"/>
              <a:gd name="connsiteY3-1160" fmla="*/ 89040 h 341725"/>
              <a:gd name="connsiteX4-1161" fmla="*/ 1889246 w 11958004"/>
              <a:gd name="connsiteY4-1162" fmla="*/ 341725 h 341725"/>
              <a:gd name="connsiteX5-1163" fmla="*/ 1407224 w 11958004"/>
              <a:gd name="connsiteY5-1164" fmla="*/ 101571 h 341725"/>
              <a:gd name="connsiteX6-1165" fmla="*/ 998158 w 11958004"/>
              <a:gd name="connsiteY6-1166" fmla="*/ 40093 h 341725"/>
              <a:gd name="connsiteX7-1167" fmla="*/ 780014 w 11958004"/>
              <a:gd name="connsiteY7-1168" fmla="*/ 2791 h 341725"/>
              <a:gd name="connsiteX0-1169" fmla="*/ 758495 w 11936485"/>
              <a:gd name="connsiteY0-1170" fmla="*/ 2791 h 341725"/>
              <a:gd name="connsiteX1-1171" fmla="*/ 11936485 w 11936485"/>
              <a:gd name="connsiteY1-1172" fmla="*/ 0 h 341725"/>
              <a:gd name="connsiteX2-1173" fmla="*/ 11660074 w 11936485"/>
              <a:gd name="connsiteY2-1174" fmla="*/ 87717 h 341725"/>
              <a:gd name="connsiteX3-1175" fmla="*/ 2447650 w 11936485"/>
              <a:gd name="connsiteY3-1176" fmla="*/ 89040 h 341725"/>
              <a:gd name="connsiteX4-1177" fmla="*/ 1867727 w 11936485"/>
              <a:gd name="connsiteY4-1178" fmla="*/ 341725 h 341725"/>
              <a:gd name="connsiteX5-1179" fmla="*/ 1385705 w 11936485"/>
              <a:gd name="connsiteY5-1180" fmla="*/ 101571 h 341725"/>
              <a:gd name="connsiteX6-1181" fmla="*/ 976639 w 11936485"/>
              <a:gd name="connsiteY6-1182" fmla="*/ 40093 h 341725"/>
              <a:gd name="connsiteX7-1183" fmla="*/ 758495 w 11936485"/>
              <a:gd name="connsiteY7-1184" fmla="*/ 2791 h 341725"/>
              <a:gd name="connsiteX0-1185" fmla="*/ 0 w 11177990"/>
              <a:gd name="connsiteY0-1186" fmla="*/ 2791 h 341725"/>
              <a:gd name="connsiteX1-1187" fmla="*/ 11177990 w 11177990"/>
              <a:gd name="connsiteY1-1188" fmla="*/ 0 h 341725"/>
              <a:gd name="connsiteX2-1189" fmla="*/ 10901579 w 11177990"/>
              <a:gd name="connsiteY2-1190" fmla="*/ 87717 h 341725"/>
              <a:gd name="connsiteX3-1191" fmla="*/ 1689155 w 11177990"/>
              <a:gd name="connsiteY3-1192" fmla="*/ 89040 h 341725"/>
              <a:gd name="connsiteX4-1193" fmla="*/ 1109232 w 11177990"/>
              <a:gd name="connsiteY4-1194" fmla="*/ 341725 h 341725"/>
              <a:gd name="connsiteX5-1195" fmla="*/ 627210 w 11177990"/>
              <a:gd name="connsiteY5-1196" fmla="*/ 101571 h 341725"/>
              <a:gd name="connsiteX6-1197" fmla="*/ 218144 w 11177990"/>
              <a:gd name="connsiteY6-1198" fmla="*/ 40093 h 341725"/>
              <a:gd name="connsiteX7-1199" fmla="*/ 0 w 11177990"/>
              <a:gd name="connsiteY7-1200" fmla="*/ 2791 h 341725"/>
              <a:gd name="connsiteX0-1201" fmla="*/ 1331 w 11179321"/>
              <a:gd name="connsiteY0-1202" fmla="*/ 2791 h 341725"/>
              <a:gd name="connsiteX1-1203" fmla="*/ 11179321 w 11179321"/>
              <a:gd name="connsiteY1-1204" fmla="*/ 0 h 341725"/>
              <a:gd name="connsiteX2-1205" fmla="*/ 10902910 w 11179321"/>
              <a:gd name="connsiteY2-1206" fmla="*/ 87717 h 341725"/>
              <a:gd name="connsiteX3-1207" fmla="*/ 1690486 w 11179321"/>
              <a:gd name="connsiteY3-1208" fmla="*/ 89040 h 341725"/>
              <a:gd name="connsiteX4-1209" fmla="*/ 1110563 w 11179321"/>
              <a:gd name="connsiteY4-1210" fmla="*/ 341725 h 341725"/>
              <a:gd name="connsiteX5-1211" fmla="*/ 628541 w 11179321"/>
              <a:gd name="connsiteY5-1212" fmla="*/ 101571 h 341725"/>
              <a:gd name="connsiteX6-1213" fmla="*/ 0 w 11179321"/>
              <a:gd name="connsiteY6-1214" fmla="*/ 94068 h 341725"/>
              <a:gd name="connsiteX7-1215" fmla="*/ 1331 w 11179321"/>
              <a:gd name="connsiteY7-1216" fmla="*/ 2791 h 341725"/>
              <a:gd name="connsiteX0-1217" fmla="*/ 1331 w 11179321"/>
              <a:gd name="connsiteY0-1218" fmla="*/ 2791 h 341725"/>
              <a:gd name="connsiteX1-1219" fmla="*/ 11179321 w 11179321"/>
              <a:gd name="connsiteY1-1220" fmla="*/ 0 h 341725"/>
              <a:gd name="connsiteX2-1221" fmla="*/ 10902910 w 11179321"/>
              <a:gd name="connsiteY2-1222" fmla="*/ 87717 h 341725"/>
              <a:gd name="connsiteX3-1223" fmla="*/ 1690486 w 11179321"/>
              <a:gd name="connsiteY3-1224" fmla="*/ 89040 h 341725"/>
              <a:gd name="connsiteX4-1225" fmla="*/ 1110563 w 11179321"/>
              <a:gd name="connsiteY4-1226" fmla="*/ 341725 h 341725"/>
              <a:gd name="connsiteX5-1227" fmla="*/ 628541 w 11179321"/>
              <a:gd name="connsiteY5-1228" fmla="*/ 101571 h 341725"/>
              <a:gd name="connsiteX6-1229" fmla="*/ 0 w 11179321"/>
              <a:gd name="connsiteY6-1230" fmla="*/ 94068 h 341725"/>
              <a:gd name="connsiteX7-1231" fmla="*/ 1331 w 11179321"/>
              <a:gd name="connsiteY7-1232" fmla="*/ 2791 h 341725"/>
              <a:gd name="connsiteX0-1233" fmla="*/ 1331 w 11179321"/>
              <a:gd name="connsiteY0-1234" fmla="*/ 2791 h 341725"/>
              <a:gd name="connsiteX1-1235" fmla="*/ 11179321 w 11179321"/>
              <a:gd name="connsiteY1-1236" fmla="*/ 0 h 341725"/>
              <a:gd name="connsiteX2-1237" fmla="*/ 10902910 w 11179321"/>
              <a:gd name="connsiteY2-1238" fmla="*/ 87717 h 341725"/>
              <a:gd name="connsiteX3-1239" fmla="*/ 1690486 w 11179321"/>
              <a:gd name="connsiteY3-1240" fmla="*/ 89040 h 341725"/>
              <a:gd name="connsiteX4-1241" fmla="*/ 1110563 w 11179321"/>
              <a:gd name="connsiteY4-1242" fmla="*/ 341725 h 341725"/>
              <a:gd name="connsiteX5-1243" fmla="*/ 628541 w 11179321"/>
              <a:gd name="connsiteY5-1244" fmla="*/ 101571 h 341725"/>
              <a:gd name="connsiteX6-1245" fmla="*/ 0 w 11179321"/>
              <a:gd name="connsiteY6-1246" fmla="*/ 94068 h 341725"/>
              <a:gd name="connsiteX7-1247" fmla="*/ 1331 w 11179321"/>
              <a:gd name="connsiteY7-1248" fmla="*/ 2791 h 341725"/>
              <a:gd name="connsiteX0-1249" fmla="*/ 1331 w 11179321"/>
              <a:gd name="connsiteY0-1250" fmla="*/ 2791 h 341725"/>
              <a:gd name="connsiteX1-1251" fmla="*/ 11179321 w 11179321"/>
              <a:gd name="connsiteY1-1252" fmla="*/ 0 h 341725"/>
              <a:gd name="connsiteX2-1253" fmla="*/ 10902910 w 11179321"/>
              <a:gd name="connsiteY2-1254" fmla="*/ 87717 h 341725"/>
              <a:gd name="connsiteX3-1255" fmla="*/ 1690486 w 11179321"/>
              <a:gd name="connsiteY3-1256" fmla="*/ 89040 h 341725"/>
              <a:gd name="connsiteX4-1257" fmla="*/ 1110563 w 11179321"/>
              <a:gd name="connsiteY4-1258" fmla="*/ 341725 h 341725"/>
              <a:gd name="connsiteX5-1259" fmla="*/ 628541 w 11179321"/>
              <a:gd name="connsiteY5-1260" fmla="*/ 101571 h 341725"/>
              <a:gd name="connsiteX6-1261" fmla="*/ 0 w 11179321"/>
              <a:gd name="connsiteY6-1262" fmla="*/ 103593 h 341725"/>
              <a:gd name="connsiteX7-1263" fmla="*/ 1331 w 11179321"/>
              <a:gd name="connsiteY7-1264" fmla="*/ 2791 h 341725"/>
              <a:gd name="connsiteX0-1265" fmla="*/ 1331 w 11179321"/>
              <a:gd name="connsiteY0-1266" fmla="*/ 2791 h 341725"/>
              <a:gd name="connsiteX1-1267" fmla="*/ 11179321 w 11179321"/>
              <a:gd name="connsiteY1-1268" fmla="*/ 0 h 341725"/>
              <a:gd name="connsiteX2-1269" fmla="*/ 10567427 w 11179321"/>
              <a:gd name="connsiteY2-1270" fmla="*/ 90892 h 341725"/>
              <a:gd name="connsiteX3-1271" fmla="*/ 1690486 w 11179321"/>
              <a:gd name="connsiteY3-1272" fmla="*/ 89040 h 341725"/>
              <a:gd name="connsiteX4-1273" fmla="*/ 1110563 w 11179321"/>
              <a:gd name="connsiteY4-1274" fmla="*/ 341725 h 341725"/>
              <a:gd name="connsiteX5-1275" fmla="*/ 628541 w 11179321"/>
              <a:gd name="connsiteY5-1276" fmla="*/ 101571 h 341725"/>
              <a:gd name="connsiteX6-1277" fmla="*/ 0 w 11179321"/>
              <a:gd name="connsiteY6-1278" fmla="*/ 103593 h 341725"/>
              <a:gd name="connsiteX7-1279" fmla="*/ 1331 w 11179321"/>
              <a:gd name="connsiteY7-1280" fmla="*/ 2791 h 341725"/>
              <a:gd name="connsiteX0-1281" fmla="*/ 1331 w 10600099"/>
              <a:gd name="connsiteY0-1282" fmla="*/ 2791 h 341725"/>
              <a:gd name="connsiteX1-1283" fmla="*/ 10561656 w 10600099"/>
              <a:gd name="connsiteY1-1284" fmla="*/ 0 h 341725"/>
              <a:gd name="connsiteX2-1285" fmla="*/ 10567427 w 10600099"/>
              <a:gd name="connsiteY2-1286" fmla="*/ 90892 h 341725"/>
              <a:gd name="connsiteX3-1287" fmla="*/ 1690486 w 10600099"/>
              <a:gd name="connsiteY3-1288" fmla="*/ 89040 h 341725"/>
              <a:gd name="connsiteX4-1289" fmla="*/ 1110563 w 10600099"/>
              <a:gd name="connsiteY4-1290" fmla="*/ 341725 h 341725"/>
              <a:gd name="connsiteX5-1291" fmla="*/ 628541 w 10600099"/>
              <a:gd name="connsiteY5-1292" fmla="*/ 101571 h 341725"/>
              <a:gd name="connsiteX6-1293" fmla="*/ 0 w 10600099"/>
              <a:gd name="connsiteY6-1294" fmla="*/ 103593 h 341725"/>
              <a:gd name="connsiteX7-1295" fmla="*/ 1331 w 10600099"/>
              <a:gd name="connsiteY7-1296" fmla="*/ 2791 h 341725"/>
              <a:gd name="connsiteX0-1297" fmla="*/ 1331 w 10567427"/>
              <a:gd name="connsiteY0-1298" fmla="*/ 2791 h 341725"/>
              <a:gd name="connsiteX1-1299" fmla="*/ 10561656 w 10567427"/>
              <a:gd name="connsiteY1-1300" fmla="*/ 0 h 341725"/>
              <a:gd name="connsiteX2-1301" fmla="*/ 10567427 w 10567427"/>
              <a:gd name="connsiteY2-1302" fmla="*/ 90892 h 341725"/>
              <a:gd name="connsiteX3-1303" fmla="*/ 1690486 w 10567427"/>
              <a:gd name="connsiteY3-1304" fmla="*/ 89040 h 341725"/>
              <a:gd name="connsiteX4-1305" fmla="*/ 1110563 w 10567427"/>
              <a:gd name="connsiteY4-1306" fmla="*/ 341725 h 341725"/>
              <a:gd name="connsiteX5-1307" fmla="*/ 628541 w 10567427"/>
              <a:gd name="connsiteY5-1308" fmla="*/ 101571 h 341725"/>
              <a:gd name="connsiteX6-1309" fmla="*/ 0 w 10567427"/>
              <a:gd name="connsiteY6-1310" fmla="*/ 103593 h 341725"/>
              <a:gd name="connsiteX7-1311" fmla="*/ 1331 w 10567427"/>
              <a:gd name="connsiteY7-1312" fmla="*/ 2791 h 341725"/>
              <a:gd name="connsiteX0-1313" fmla="*/ 1331 w 10561687"/>
              <a:gd name="connsiteY0-1314" fmla="*/ 2791 h 341725"/>
              <a:gd name="connsiteX1-1315" fmla="*/ 10561656 w 10561687"/>
              <a:gd name="connsiteY1-1316" fmla="*/ 0 h 341725"/>
              <a:gd name="connsiteX2-1317" fmla="*/ 10561157 w 10561687"/>
              <a:gd name="connsiteY2-1318" fmla="*/ 90892 h 341725"/>
              <a:gd name="connsiteX3-1319" fmla="*/ 1690486 w 10561687"/>
              <a:gd name="connsiteY3-1320" fmla="*/ 89040 h 341725"/>
              <a:gd name="connsiteX4-1321" fmla="*/ 1110563 w 10561687"/>
              <a:gd name="connsiteY4-1322" fmla="*/ 341725 h 341725"/>
              <a:gd name="connsiteX5-1323" fmla="*/ 628541 w 10561687"/>
              <a:gd name="connsiteY5-1324" fmla="*/ 101571 h 341725"/>
              <a:gd name="connsiteX6-1325" fmla="*/ 0 w 10561687"/>
              <a:gd name="connsiteY6-1326" fmla="*/ 103593 h 341725"/>
              <a:gd name="connsiteX7-1327" fmla="*/ 1331 w 10561687"/>
              <a:gd name="connsiteY7-1328" fmla="*/ 2791 h 341725"/>
              <a:gd name="connsiteX0-1329" fmla="*/ 1331 w 10562072"/>
              <a:gd name="connsiteY0-1330" fmla="*/ 2791 h 341725"/>
              <a:gd name="connsiteX1-1331" fmla="*/ 10561656 w 10562072"/>
              <a:gd name="connsiteY1-1332" fmla="*/ 0 h 341725"/>
              <a:gd name="connsiteX2-1333" fmla="*/ 10561157 w 10562072"/>
              <a:gd name="connsiteY2-1334" fmla="*/ 90892 h 341725"/>
              <a:gd name="connsiteX3-1335" fmla="*/ 1690486 w 10562072"/>
              <a:gd name="connsiteY3-1336" fmla="*/ 89040 h 341725"/>
              <a:gd name="connsiteX4-1337" fmla="*/ 1110563 w 10562072"/>
              <a:gd name="connsiteY4-1338" fmla="*/ 341725 h 341725"/>
              <a:gd name="connsiteX5-1339" fmla="*/ 628541 w 10562072"/>
              <a:gd name="connsiteY5-1340" fmla="*/ 101571 h 341725"/>
              <a:gd name="connsiteX6-1341" fmla="*/ 0 w 10562072"/>
              <a:gd name="connsiteY6-1342" fmla="*/ 103593 h 341725"/>
              <a:gd name="connsiteX7-1343" fmla="*/ 1331 w 10562072"/>
              <a:gd name="connsiteY7-1344" fmla="*/ 2791 h 341725"/>
              <a:gd name="connsiteX0-1345" fmla="*/ 1331 w 10562072"/>
              <a:gd name="connsiteY0-1346" fmla="*/ 2791 h 887696"/>
              <a:gd name="connsiteX1-1347" fmla="*/ 10561656 w 10562072"/>
              <a:gd name="connsiteY1-1348" fmla="*/ 0 h 887696"/>
              <a:gd name="connsiteX2-1349" fmla="*/ 10561157 w 10562072"/>
              <a:gd name="connsiteY2-1350" fmla="*/ 90892 h 887696"/>
              <a:gd name="connsiteX3-1351" fmla="*/ 1690486 w 10562072"/>
              <a:gd name="connsiteY3-1352" fmla="*/ 89040 h 887696"/>
              <a:gd name="connsiteX4-1353" fmla="*/ 1180889 w 10562072"/>
              <a:gd name="connsiteY4-1354" fmla="*/ 887696 h 887696"/>
              <a:gd name="connsiteX5-1355" fmla="*/ 628541 w 10562072"/>
              <a:gd name="connsiteY5-1356" fmla="*/ 101571 h 887696"/>
              <a:gd name="connsiteX6-1357" fmla="*/ 0 w 10562072"/>
              <a:gd name="connsiteY6-1358" fmla="*/ 103593 h 887696"/>
              <a:gd name="connsiteX7-1359" fmla="*/ 1331 w 10562072"/>
              <a:gd name="connsiteY7-1360" fmla="*/ 2791 h 887696"/>
              <a:gd name="connsiteX0-1361" fmla="*/ 1331 w 10562072"/>
              <a:gd name="connsiteY0-1362" fmla="*/ 2791 h 887696"/>
              <a:gd name="connsiteX1-1363" fmla="*/ 10561656 w 10562072"/>
              <a:gd name="connsiteY1-1364" fmla="*/ 0 h 887696"/>
              <a:gd name="connsiteX2-1365" fmla="*/ 10561157 w 10562072"/>
              <a:gd name="connsiteY2-1366" fmla="*/ 90892 h 887696"/>
              <a:gd name="connsiteX3-1367" fmla="*/ 2317558 w 10562072"/>
              <a:gd name="connsiteY3-1368" fmla="*/ 89040 h 887696"/>
              <a:gd name="connsiteX4-1369" fmla="*/ 1180889 w 10562072"/>
              <a:gd name="connsiteY4-1370" fmla="*/ 887696 h 887696"/>
              <a:gd name="connsiteX5-1371" fmla="*/ 628541 w 10562072"/>
              <a:gd name="connsiteY5-1372" fmla="*/ 101571 h 887696"/>
              <a:gd name="connsiteX6-1373" fmla="*/ 0 w 10562072"/>
              <a:gd name="connsiteY6-1374" fmla="*/ 103593 h 887696"/>
              <a:gd name="connsiteX7-1375" fmla="*/ 1331 w 10562072"/>
              <a:gd name="connsiteY7-1376" fmla="*/ 2791 h 887696"/>
              <a:gd name="connsiteX0-1377" fmla="*/ 1331 w 10562072"/>
              <a:gd name="connsiteY0-1378" fmla="*/ 2791 h 887702"/>
              <a:gd name="connsiteX1-1379" fmla="*/ 10561656 w 10562072"/>
              <a:gd name="connsiteY1-1380" fmla="*/ 0 h 887702"/>
              <a:gd name="connsiteX2-1381" fmla="*/ 10561157 w 10562072"/>
              <a:gd name="connsiteY2-1382" fmla="*/ 90892 h 887702"/>
              <a:gd name="connsiteX3-1383" fmla="*/ 2317558 w 10562072"/>
              <a:gd name="connsiteY3-1384" fmla="*/ 89040 h 887702"/>
              <a:gd name="connsiteX4-1385" fmla="*/ 1180889 w 10562072"/>
              <a:gd name="connsiteY4-1386" fmla="*/ 887696 h 887702"/>
              <a:gd name="connsiteX5-1387" fmla="*/ 0 w 10562072"/>
              <a:gd name="connsiteY5-1388" fmla="*/ 103593 h 887702"/>
              <a:gd name="connsiteX6-1389" fmla="*/ 1331 w 10562072"/>
              <a:gd name="connsiteY6-1390" fmla="*/ 2791 h 887702"/>
              <a:gd name="connsiteX0-1391" fmla="*/ 1331 w 10562072"/>
              <a:gd name="connsiteY0-1392" fmla="*/ 2791 h 887696"/>
              <a:gd name="connsiteX1-1393" fmla="*/ 10561656 w 10562072"/>
              <a:gd name="connsiteY1-1394" fmla="*/ 0 h 887696"/>
              <a:gd name="connsiteX2-1395" fmla="*/ 10561157 w 10562072"/>
              <a:gd name="connsiteY2-1396" fmla="*/ 90892 h 887696"/>
              <a:gd name="connsiteX3-1397" fmla="*/ 2317558 w 10562072"/>
              <a:gd name="connsiteY3-1398" fmla="*/ 89040 h 887696"/>
              <a:gd name="connsiteX4-1399" fmla="*/ 1180889 w 10562072"/>
              <a:gd name="connsiteY4-1400" fmla="*/ 887696 h 887696"/>
              <a:gd name="connsiteX5-1401" fmla="*/ 0 w 10562072"/>
              <a:gd name="connsiteY5-1402" fmla="*/ 103593 h 887696"/>
              <a:gd name="connsiteX6-1403" fmla="*/ 1331 w 10562072"/>
              <a:gd name="connsiteY6-1404" fmla="*/ 2791 h 887696"/>
              <a:gd name="connsiteX0-1405" fmla="*/ 1331 w 10562072"/>
              <a:gd name="connsiteY0-1406" fmla="*/ 2791 h 887696"/>
              <a:gd name="connsiteX1-1407" fmla="*/ 10561656 w 10562072"/>
              <a:gd name="connsiteY1-1408" fmla="*/ 0 h 887696"/>
              <a:gd name="connsiteX2-1409" fmla="*/ 10561157 w 10562072"/>
              <a:gd name="connsiteY2-1410" fmla="*/ 90892 h 887696"/>
              <a:gd name="connsiteX3-1411" fmla="*/ 2317558 w 10562072"/>
              <a:gd name="connsiteY3-1412" fmla="*/ 89040 h 887696"/>
              <a:gd name="connsiteX4-1413" fmla="*/ 1180889 w 10562072"/>
              <a:gd name="connsiteY4-1414" fmla="*/ 887696 h 887696"/>
              <a:gd name="connsiteX5-1415" fmla="*/ 0 w 10562072"/>
              <a:gd name="connsiteY5-1416" fmla="*/ 103593 h 887696"/>
              <a:gd name="connsiteX6-1417" fmla="*/ 1331 w 10562072"/>
              <a:gd name="connsiteY6-1418" fmla="*/ 2791 h 887696"/>
              <a:gd name="connsiteX0-1419" fmla="*/ 1331 w 10562072"/>
              <a:gd name="connsiteY0-1420" fmla="*/ 2791 h 887696"/>
              <a:gd name="connsiteX1-1421" fmla="*/ 10561656 w 10562072"/>
              <a:gd name="connsiteY1-1422" fmla="*/ 0 h 887696"/>
              <a:gd name="connsiteX2-1423" fmla="*/ 10561157 w 10562072"/>
              <a:gd name="connsiteY2-1424" fmla="*/ 90892 h 887696"/>
              <a:gd name="connsiteX3-1425" fmla="*/ 2317558 w 10562072"/>
              <a:gd name="connsiteY3-1426" fmla="*/ 89040 h 887696"/>
              <a:gd name="connsiteX4-1427" fmla="*/ 1180889 w 10562072"/>
              <a:gd name="connsiteY4-1428" fmla="*/ 887696 h 887696"/>
              <a:gd name="connsiteX5-1429" fmla="*/ 0 w 10562072"/>
              <a:gd name="connsiteY5-1430" fmla="*/ 103593 h 887696"/>
              <a:gd name="connsiteX6-1431" fmla="*/ 1331 w 10562072"/>
              <a:gd name="connsiteY6-1432" fmla="*/ 2791 h 887696"/>
              <a:gd name="connsiteX0-1433" fmla="*/ 1331 w 10562072"/>
              <a:gd name="connsiteY0-1434" fmla="*/ 2791 h 887696"/>
              <a:gd name="connsiteX1-1435" fmla="*/ 10561656 w 10562072"/>
              <a:gd name="connsiteY1-1436" fmla="*/ 0 h 887696"/>
              <a:gd name="connsiteX2-1437" fmla="*/ 10561157 w 10562072"/>
              <a:gd name="connsiteY2-1438" fmla="*/ 90892 h 887696"/>
              <a:gd name="connsiteX3-1439" fmla="*/ 2317558 w 10562072"/>
              <a:gd name="connsiteY3-1440" fmla="*/ 89040 h 887696"/>
              <a:gd name="connsiteX4-1441" fmla="*/ 1180889 w 10562072"/>
              <a:gd name="connsiteY4-1442" fmla="*/ 887696 h 887696"/>
              <a:gd name="connsiteX5-1443" fmla="*/ 0 w 10562072"/>
              <a:gd name="connsiteY5-1444" fmla="*/ 103593 h 887696"/>
              <a:gd name="connsiteX6-1445" fmla="*/ 1331 w 10562072"/>
              <a:gd name="connsiteY6-1446" fmla="*/ 2791 h 887696"/>
              <a:gd name="connsiteX0-1447" fmla="*/ 1331 w 10562072"/>
              <a:gd name="connsiteY0-1448" fmla="*/ 2791 h 887696"/>
              <a:gd name="connsiteX1-1449" fmla="*/ 10561656 w 10562072"/>
              <a:gd name="connsiteY1-1450" fmla="*/ 0 h 887696"/>
              <a:gd name="connsiteX2-1451" fmla="*/ 10561157 w 10562072"/>
              <a:gd name="connsiteY2-1452" fmla="*/ 90892 h 887696"/>
              <a:gd name="connsiteX3-1453" fmla="*/ 2317558 w 10562072"/>
              <a:gd name="connsiteY3-1454" fmla="*/ 89040 h 887696"/>
              <a:gd name="connsiteX4-1455" fmla="*/ 1180889 w 10562072"/>
              <a:gd name="connsiteY4-1456" fmla="*/ 887696 h 887696"/>
              <a:gd name="connsiteX5-1457" fmla="*/ 0 w 10562072"/>
              <a:gd name="connsiteY5-1458" fmla="*/ 103593 h 887696"/>
              <a:gd name="connsiteX6-1459" fmla="*/ 1331 w 10562072"/>
              <a:gd name="connsiteY6-1460" fmla="*/ 2791 h 887696"/>
              <a:gd name="connsiteX0-1461" fmla="*/ 1331 w 10562072"/>
              <a:gd name="connsiteY0-1462" fmla="*/ 2791 h 887696"/>
              <a:gd name="connsiteX1-1463" fmla="*/ 10561656 w 10562072"/>
              <a:gd name="connsiteY1-1464" fmla="*/ 0 h 887696"/>
              <a:gd name="connsiteX2-1465" fmla="*/ 10561157 w 10562072"/>
              <a:gd name="connsiteY2-1466" fmla="*/ 90892 h 887696"/>
              <a:gd name="connsiteX3-1467" fmla="*/ 2317558 w 10562072"/>
              <a:gd name="connsiteY3-1468" fmla="*/ 89040 h 887696"/>
              <a:gd name="connsiteX4-1469" fmla="*/ 1180889 w 10562072"/>
              <a:gd name="connsiteY4-1470" fmla="*/ 887696 h 887696"/>
              <a:gd name="connsiteX5-1471" fmla="*/ 0 w 10562072"/>
              <a:gd name="connsiteY5-1472" fmla="*/ 103593 h 887696"/>
              <a:gd name="connsiteX6-1473" fmla="*/ 1331 w 10562072"/>
              <a:gd name="connsiteY6-1474" fmla="*/ 2791 h 887696"/>
              <a:gd name="connsiteX0-1475" fmla="*/ 1331 w 10562072"/>
              <a:gd name="connsiteY0-1476" fmla="*/ 2791 h 887696"/>
              <a:gd name="connsiteX1-1477" fmla="*/ 10561656 w 10562072"/>
              <a:gd name="connsiteY1-1478" fmla="*/ 0 h 887696"/>
              <a:gd name="connsiteX2-1479" fmla="*/ 10561157 w 10562072"/>
              <a:gd name="connsiteY2-1480" fmla="*/ 90892 h 887696"/>
              <a:gd name="connsiteX3-1481" fmla="*/ 2317558 w 10562072"/>
              <a:gd name="connsiteY3-1482" fmla="*/ 89040 h 887696"/>
              <a:gd name="connsiteX4-1483" fmla="*/ 1180889 w 10562072"/>
              <a:gd name="connsiteY4-1484" fmla="*/ 887696 h 887696"/>
              <a:gd name="connsiteX5-1485" fmla="*/ 0 w 10562072"/>
              <a:gd name="connsiteY5-1486" fmla="*/ 103593 h 887696"/>
              <a:gd name="connsiteX6-1487" fmla="*/ 1331 w 10562072"/>
              <a:gd name="connsiteY6-1488" fmla="*/ 2791 h 887696"/>
              <a:gd name="connsiteX0-1489" fmla="*/ 1331 w 10562072"/>
              <a:gd name="connsiteY0-1490" fmla="*/ 2791 h 887696"/>
              <a:gd name="connsiteX1-1491" fmla="*/ 10561656 w 10562072"/>
              <a:gd name="connsiteY1-1492" fmla="*/ 0 h 887696"/>
              <a:gd name="connsiteX2-1493" fmla="*/ 10561157 w 10562072"/>
              <a:gd name="connsiteY2-1494" fmla="*/ 90892 h 887696"/>
              <a:gd name="connsiteX3-1495" fmla="*/ 2317558 w 10562072"/>
              <a:gd name="connsiteY3-1496" fmla="*/ 89040 h 887696"/>
              <a:gd name="connsiteX4-1497" fmla="*/ 1180889 w 10562072"/>
              <a:gd name="connsiteY4-1498" fmla="*/ 887696 h 887696"/>
              <a:gd name="connsiteX5-1499" fmla="*/ 0 w 10562072"/>
              <a:gd name="connsiteY5-1500" fmla="*/ 103593 h 887696"/>
              <a:gd name="connsiteX6-1501" fmla="*/ 1331 w 10562072"/>
              <a:gd name="connsiteY6-1502" fmla="*/ 2791 h 887696"/>
              <a:gd name="connsiteX0-1503" fmla="*/ 1331 w 10562072"/>
              <a:gd name="connsiteY0-1504" fmla="*/ 2791 h 887696"/>
              <a:gd name="connsiteX1-1505" fmla="*/ 10561656 w 10562072"/>
              <a:gd name="connsiteY1-1506" fmla="*/ 0 h 887696"/>
              <a:gd name="connsiteX2-1507" fmla="*/ 10561157 w 10562072"/>
              <a:gd name="connsiteY2-1508" fmla="*/ 90892 h 887696"/>
              <a:gd name="connsiteX3-1509" fmla="*/ 2317558 w 10562072"/>
              <a:gd name="connsiteY3-1510" fmla="*/ 89040 h 887696"/>
              <a:gd name="connsiteX4-1511" fmla="*/ 1180889 w 10562072"/>
              <a:gd name="connsiteY4-1512" fmla="*/ 887696 h 887696"/>
              <a:gd name="connsiteX5-1513" fmla="*/ 0 w 10562072"/>
              <a:gd name="connsiteY5-1514" fmla="*/ 103593 h 887696"/>
              <a:gd name="connsiteX6-1515" fmla="*/ 1331 w 10562072"/>
              <a:gd name="connsiteY6-1516" fmla="*/ 2791 h 887696"/>
              <a:gd name="connsiteX0-1517" fmla="*/ 0 w 10568342"/>
              <a:gd name="connsiteY0-1518" fmla="*/ 0 h 2916892"/>
              <a:gd name="connsiteX1-1519" fmla="*/ 10567926 w 10568342"/>
              <a:gd name="connsiteY1-1520" fmla="*/ 2029196 h 2916892"/>
              <a:gd name="connsiteX2-1521" fmla="*/ 10567427 w 10568342"/>
              <a:gd name="connsiteY2-1522" fmla="*/ 2120088 h 2916892"/>
              <a:gd name="connsiteX3-1523" fmla="*/ 2323828 w 10568342"/>
              <a:gd name="connsiteY3-1524" fmla="*/ 2118236 h 2916892"/>
              <a:gd name="connsiteX4-1525" fmla="*/ 1187159 w 10568342"/>
              <a:gd name="connsiteY4-1526" fmla="*/ 2916892 h 2916892"/>
              <a:gd name="connsiteX5-1527" fmla="*/ 6270 w 10568342"/>
              <a:gd name="connsiteY5-1528" fmla="*/ 2132789 h 2916892"/>
              <a:gd name="connsiteX6-1529" fmla="*/ 0 w 10568342"/>
              <a:gd name="connsiteY6-1530" fmla="*/ 0 h 2916892"/>
              <a:gd name="connsiteX0-1531" fmla="*/ 0 w 10575943"/>
              <a:gd name="connsiteY0-1532" fmla="*/ 0 h 2955377"/>
              <a:gd name="connsiteX1-1533" fmla="*/ 10575527 w 10575943"/>
              <a:gd name="connsiteY1-1534" fmla="*/ 2067681 h 2955377"/>
              <a:gd name="connsiteX2-1535" fmla="*/ 10575028 w 10575943"/>
              <a:gd name="connsiteY2-1536" fmla="*/ 2158573 h 2955377"/>
              <a:gd name="connsiteX3-1537" fmla="*/ 2331429 w 10575943"/>
              <a:gd name="connsiteY3-1538" fmla="*/ 2156721 h 2955377"/>
              <a:gd name="connsiteX4-1539" fmla="*/ 1194760 w 10575943"/>
              <a:gd name="connsiteY4-1540" fmla="*/ 2955377 h 2955377"/>
              <a:gd name="connsiteX5-1541" fmla="*/ 13871 w 10575943"/>
              <a:gd name="connsiteY5-1542" fmla="*/ 2171274 h 2955377"/>
              <a:gd name="connsiteX6-1543" fmla="*/ 0 w 10575943"/>
              <a:gd name="connsiteY6-1544" fmla="*/ 0 h 2955377"/>
              <a:gd name="connsiteX0-1545" fmla="*/ 267371 w 10562072"/>
              <a:gd name="connsiteY0-1546" fmla="*/ 0 h 2685985"/>
              <a:gd name="connsiteX1-1547" fmla="*/ 10561656 w 10562072"/>
              <a:gd name="connsiteY1-1548" fmla="*/ 1798289 h 2685985"/>
              <a:gd name="connsiteX2-1549" fmla="*/ 10561157 w 10562072"/>
              <a:gd name="connsiteY2-1550" fmla="*/ 1889181 h 2685985"/>
              <a:gd name="connsiteX3-1551" fmla="*/ 2317558 w 10562072"/>
              <a:gd name="connsiteY3-1552" fmla="*/ 1887329 h 2685985"/>
              <a:gd name="connsiteX4-1553" fmla="*/ 1180889 w 10562072"/>
              <a:gd name="connsiteY4-1554" fmla="*/ 2685985 h 2685985"/>
              <a:gd name="connsiteX5-1555" fmla="*/ 0 w 10562072"/>
              <a:gd name="connsiteY5-1556" fmla="*/ 1901882 h 2685985"/>
              <a:gd name="connsiteX6-1557" fmla="*/ 267371 w 10562072"/>
              <a:gd name="connsiteY6-1558" fmla="*/ 0 h 2685985"/>
              <a:gd name="connsiteX0-1559" fmla="*/ 1331 w 10562072"/>
              <a:gd name="connsiteY0-1560" fmla="*/ 0 h 2955377"/>
              <a:gd name="connsiteX1-1561" fmla="*/ 10561656 w 10562072"/>
              <a:gd name="connsiteY1-1562" fmla="*/ 2067681 h 2955377"/>
              <a:gd name="connsiteX2-1563" fmla="*/ 10561157 w 10562072"/>
              <a:gd name="connsiteY2-1564" fmla="*/ 2158573 h 2955377"/>
              <a:gd name="connsiteX3-1565" fmla="*/ 2317558 w 10562072"/>
              <a:gd name="connsiteY3-1566" fmla="*/ 2156721 h 2955377"/>
              <a:gd name="connsiteX4-1567" fmla="*/ 1180889 w 10562072"/>
              <a:gd name="connsiteY4-1568" fmla="*/ 2955377 h 2955377"/>
              <a:gd name="connsiteX5-1569" fmla="*/ 0 w 10562072"/>
              <a:gd name="connsiteY5-1570" fmla="*/ 2171274 h 2955377"/>
              <a:gd name="connsiteX6-1571" fmla="*/ 1331 w 10562072"/>
              <a:gd name="connsiteY6-1572" fmla="*/ 0 h 2955377"/>
              <a:gd name="connsiteX0-1573" fmla="*/ 1331 w 10562072"/>
              <a:gd name="connsiteY0-1574" fmla="*/ 2791 h 2958168"/>
              <a:gd name="connsiteX1-1575" fmla="*/ 10561655 w 10562072"/>
              <a:gd name="connsiteY1-1576" fmla="*/ 0 h 2958168"/>
              <a:gd name="connsiteX2-1577" fmla="*/ 10561157 w 10562072"/>
              <a:gd name="connsiteY2-1578" fmla="*/ 2161364 h 2958168"/>
              <a:gd name="connsiteX3-1579" fmla="*/ 2317558 w 10562072"/>
              <a:gd name="connsiteY3-1580" fmla="*/ 2159512 h 2958168"/>
              <a:gd name="connsiteX4-1581" fmla="*/ 1180889 w 10562072"/>
              <a:gd name="connsiteY4-1582" fmla="*/ 2958168 h 2958168"/>
              <a:gd name="connsiteX5-1583" fmla="*/ 0 w 10562072"/>
              <a:gd name="connsiteY5-1584" fmla="*/ 2174065 h 2958168"/>
              <a:gd name="connsiteX6-1585" fmla="*/ 1331 w 10562072"/>
              <a:gd name="connsiteY6-1586" fmla="*/ 2791 h 2958168"/>
              <a:gd name="connsiteX0-1587" fmla="*/ 1331 w 10562072"/>
              <a:gd name="connsiteY0-1588" fmla="*/ 2791 h 2958168"/>
              <a:gd name="connsiteX1-1589" fmla="*/ 10561655 w 10562072"/>
              <a:gd name="connsiteY1-1590" fmla="*/ 0 h 2958168"/>
              <a:gd name="connsiteX2-1591" fmla="*/ 10561157 w 10562072"/>
              <a:gd name="connsiteY2-1592" fmla="*/ 2161364 h 2958168"/>
              <a:gd name="connsiteX3-1593" fmla="*/ 9288594 w 10562072"/>
              <a:gd name="connsiteY3-1594" fmla="*/ 2153103 h 2958168"/>
              <a:gd name="connsiteX4-1595" fmla="*/ 2317558 w 10562072"/>
              <a:gd name="connsiteY4-1596" fmla="*/ 2159512 h 2958168"/>
              <a:gd name="connsiteX5-1597" fmla="*/ 1180889 w 10562072"/>
              <a:gd name="connsiteY5-1598" fmla="*/ 2958168 h 2958168"/>
              <a:gd name="connsiteX6-1599" fmla="*/ 0 w 10562072"/>
              <a:gd name="connsiteY6-1600" fmla="*/ 2174065 h 2958168"/>
              <a:gd name="connsiteX7-1601" fmla="*/ 1331 w 10562072"/>
              <a:gd name="connsiteY7-1602" fmla="*/ 2791 h 2958168"/>
              <a:gd name="connsiteX0-1603" fmla="*/ 1331 w 10561657"/>
              <a:gd name="connsiteY0-1604" fmla="*/ 2791 h 2958168"/>
              <a:gd name="connsiteX1-1605" fmla="*/ 10561655 w 10561657"/>
              <a:gd name="connsiteY1-1606" fmla="*/ 0 h 2958168"/>
              <a:gd name="connsiteX2-1607" fmla="*/ 10469943 w 10561657"/>
              <a:gd name="connsiteY2-1608" fmla="*/ 668161 h 2958168"/>
              <a:gd name="connsiteX3-1609" fmla="*/ 9288594 w 10561657"/>
              <a:gd name="connsiteY3-1610" fmla="*/ 2153103 h 2958168"/>
              <a:gd name="connsiteX4-1611" fmla="*/ 2317558 w 10561657"/>
              <a:gd name="connsiteY4-1612" fmla="*/ 2159512 h 2958168"/>
              <a:gd name="connsiteX5-1613" fmla="*/ 1180889 w 10561657"/>
              <a:gd name="connsiteY5-1614" fmla="*/ 2958168 h 2958168"/>
              <a:gd name="connsiteX6-1615" fmla="*/ 0 w 10561657"/>
              <a:gd name="connsiteY6-1616" fmla="*/ 2174065 h 2958168"/>
              <a:gd name="connsiteX7-1617" fmla="*/ 1331 w 10561657"/>
              <a:gd name="connsiteY7-1618" fmla="*/ 2791 h 2958168"/>
              <a:gd name="connsiteX0-1619" fmla="*/ 1331 w 10562072"/>
              <a:gd name="connsiteY0-1620" fmla="*/ 2791 h 2958168"/>
              <a:gd name="connsiteX1-1621" fmla="*/ 10561655 w 10562072"/>
              <a:gd name="connsiteY1-1622" fmla="*/ 0 h 2958168"/>
              <a:gd name="connsiteX2-1623" fmla="*/ 10561157 w 10562072"/>
              <a:gd name="connsiteY2-1624" fmla="*/ 1468641 h 2958168"/>
              <a:gd name="connsiteX3-1625" fmla="*/ 9288594 w 10562072"/>
              <a:gd name="connsiteY3-1626" fmla="*/ 2153103 h 2958168"/>
              <a:gd name="connsiteX4-1627" fmla="*/ 2317558 w 10562072"/>
              <a:gd name="connsiteY4-1628" fmla="*/ 2159512 h 2958168"/>
              <a:gd name="connsiteX5-1629" fmla="*/ 1180889 w 10562072"/>
              <a:gd name="connsiteY5-1630" fmla="*/ 2958168 h 2958168"/>
              <a:gd name="connsiteX6-1631" fmla="*/ 0 w 10562072"/>
              <a:gd name="connsiteY6-1632" fmla="*/ 2174065 h 2958168"/>
              <a:gd name="connsiteX7-1633" fmla="*/ 1331 w 10562072"/>
              <a:gd name="connsiteY7-1634" fmla="*/ 2791 h 2958168"/>
              <a:gd name="connsiteX0-1635" fmla="*/ 1331 w 10561655"/>
              <a:gd name="connsiteY0-1636" fmla="*/ 2791 h 2958168"/>
              <a:gd name="connsiteX1-1637" fmla="*/ 10561655 w 10561655"/>
              <a:gd name="connsiteY1-1638" fmla="*/ 0 h 2958168"/>
              <a:gd name="connsiteX2-1639" fmla="*/ 10196302 w 10561655"/>
              <a:gd name="connsiteY2-1640" fmla="*/ 1183855 h 2958168"/>
              <a:gd name="connsiteX3-1641" fmla="*/ 9288594 w 10561655"/>
              <a:gd name="connsiteY3-1642" fmla="*/ 2153103 h 2958168"/>
              <a:gd name="connsiteX4-1643" fmla="*/ 2317558 w 10561655"/>
              <a:gd name="connsiteY4-1644" fmla="*/ 2159512 h 2958168"/>
              <a:gd name="connsiteX5-1645" fmla="*/ 1180889 w 10561655"/>
              <a:gd name="connsiteY5-1646" fmla="*/ 2958168 h 2958168"/>
              <a:gd name="connsiteX6-1647" fmla="*/ 0 w 10561655"/>
              <a:gd name="connsiteY6-1648" fmla="*/ 2174065 h 2958168"/>
              <a:gd name="connsiteX7-1649" fmla="*/ 1331 w 10561655"/>
              <a:gd name="connsiteY7-1650" fmla="*/ 2791 h 2958168"/>
              <a:gd name="connsiteX0-1651" fmla="*/ 1331 w 10562072"/>
              <a:gd name="connsiteY0-1652" fmla="*/ 2791 h 2958168"/>
              <a:gd name="connsiteX1-1653" fmla="*/ 10561655 w 10562072"/>
              <a:gd name="connsiteY1-1654" fmla="*/ 0 h 2958168"/>
              <a:gd name="connsiteX2-1655" fmla="*/ 10561157 w 10562072"/>
              <a:gd name="connsiteY2-1656" fmla="*/ 1476338 h 2958168"/>
              <a:gd name="connsiteX3-1657" fmla="*/ 9288594 w 10562072"/>
              <a:gd name="connsiteY3-1658" fmla="*/ 2153103 h 2958168"/>
              <a:gd name="connsiteX4-1659" fmla="*/ 2317558 w 10562072"/>
              <a:gd name="connsiteY4-1660" fmla="*/ 2159512 h 2958168"/>
              <a:gd name="connsiteX5-1661" fmla="*/ 1180889 w 10562072"/>
              <a:gd name="connsiteY5-1662" fmla="*/ 2958168 h 2958168"/>
              <a:gd name="connsiteX6-1663" fmla="*/ 0 w 10562072"/>
              <a:gd name="connsiteY6-1664" fmla="*/ 2174065 h 2958168"/>
              <a:gd name="connsiteX7-1665" fmla="*/ 1331 w 10562072"/>
              <a:gd name="connsiteY7-1666" fmla="*/ 2791 h 2958168"/>
              <a:gd name="connsiteX0-1667" fmla="*/ 1331 w 10562072"/>
              <a:gd name="connsiteY0-1668" fmla="*/ 2791 h 2958168"/>
              <a:gd name="connsiteX1-1669" fmla="*/ 10561655 w 10562072"/>
              <a:gd name="connsiteY1-1670" fmla="*/ 0 h 2958168"/>
              <a:gd name="connsiteX2-1671" fmla="*/ 10561157 w 10562072"/>
              <a:gd name="connsiteY2-1672" fmla="*/ 1476338 h 2958168"/>
              <a:gd name="connsiteX3-1673" fmla="*/ 9288594 w 10562072"/>
              <a:gd name="connsiteY3-1674" fmla="*/ 2153103 h 2958168"/>
              <a:gd name="connsiteX4-1675" fmla="*/ 2317558 w 10562072"/>
              <a:gd name="connsiteY4-1676" fmla="*/ 2159512 h 2958168"/>
              <a:gd name="connsiteX5-1677" fmla="*/ 1180889 w 10562072"/>
              <a:gd name="connsiteY5-1678" fmla="*/ 2958168 h 2958168"/>
              <a:gd name="connsiteX6-1679" fmla="*/ 0 w 10562072"/>
              <a:gd name="connsiteY6-1680" fmla="*/ 2174065 h 2958168"/>
              <a:gd name="connsiteX7-1681" fmla="*/ 1331 w 10562072"/>
              <a:gd name="connsiteY7-1682" fmla="*/ 2791 h 2958168"/>
              <a:gd name="connsiteX0-1683" fmla="*/ 1331 w 10562072"/>
              <a:gd name="connsiteY0-1684" fmla="*/ 2791 h 2958168"/>
              <a:gd name="connsiteX1-1685" fmla="*/ 10561655 w 10562072"/>
              <a:gd name="connsiteY1-1686" fmla="*/ 0 h 2958168"/>
              <a:gd name="connsiteX2-1687" fmla="*/ 10561157 w 10562072"/>
              <a:gd name="connsiteY2-1688" fmla="*/ 1476338 h 2958168"/>
              <a:gd name="connsiteX3-1689" fmla="*/ 9288594 w 10562072"/>
              <a:gd name="connsiteY3-1690" fmla="*/ 2153103 h 2958168"/>
              <a:gd name="connsiteX4-1691" fmla="*/ 2317558 w 10562072"/>
              <a:gd name="connsiteY4-1692" fmla="*/ 2159512 h 2958168"/>
              <a:gd name="connsiteX5-1693" fmla="*/ 1180889 w 10562072"/>
              <a:gd name="connsiteY5-1694" fmla="*/ 2958168 h 2958168"/>
              <a:gd name="connsiteX6-1695" fmla="*/ 0 w 10562072"/>
              <a:gd name="connsiteY6-1696" fmla="*/ 2174065 h 2958168"/>
              <a:gd name="connsiteX7-1697" fmla="*/ 1331 w 10562072"/>
              <a:gd name="connsiteY7-1698" fmla="*/ 2791 h 295816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 ang="0">
                <a:pos x="connsiteX7-135" y="connsiteY7-136"/>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ln>
          <a:effectLst>
            <a:outerShdw blurRad="41275" dist="38100" dir="5400000" algn="t" rotWithShape="0">
              <a:schemeClr val="bg1">
                <a:lumMod val="65000"/>
                <a:alpha val="25000"/>
              </a:schemeClr>
            </a:outerShdw>
          </a:effectLst>
        </p:spPr>
        <p:txBody>
          <a:bodyPr lIns="33059" tIns="42976" rIns="33059" bIns="42976" anchor="ctr"/>
          <a:lstStyle/>
          <a:p>
            <a:pPr marL="0" marR="0" lvl="0" indent="0" algn="ctr" defTabSz="95758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a:endParaRPr>
          </a:p>
        </p:txBody>
      </p:sp>
      <p:sp>
        <p:nvSpPr>
          <p:cNvPr id="8" name="Rectangle 7"/>
          <p:cNvSpPr/>
          <p:nvPr userDrawn="1">
            <p:custDataLst>
              <p:tags r:id="rId7"/>
            </p:custDataLst>
          </p:nvPr>
        </p:nvSpPr>
        <p:spPr>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marL="0" marR="0" lvl="0" indent="0" algn="ctr" defTabSz="957580" rtl="0" eaLnBrk="1" fontAlgn="auto" latinLnBrk="0" hangingPunct="1">
              <a:lnSpc>
                <a:spcPct val="100000"/>
              </a:lnSpc>
              <a:spcBef>
                <a:spcPts val="0"/>
              </a:spcBef>
              <a:spcAft>
                <a:spcPts val="0"/>
              </a:spcAft>
              <a:buClrTx/>
              <a:buSzTx/>
              <a:buFontTx/>
              <a:buNone/>
              <a:defRPr/>
            </a:pPr>
            <a:endParaRPr kumimoji="0" lang="en-US" sz="13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6" name="Title 1"/>
          <p:cNvSpPr>
            <a:spLocks noGrp="1"/>
          </p:cNvSpPr>
          <p:nvPr>
            <p:ph type="title"/>
          </p:nvPr>
        </p:nvSpPr>
        <p:spPr>
          <a:xfrm>
            <a:off x="5527079" y="1968817"/>
            <a:ext cx="6664921" cy="2414915"/>
          </a:xfrm>
        </p:spPr>
        <p:txBody>
          <a:bodyPr lIns="36000" tIns="36000" rIns="360000" bIns="36000" rtlCol="0">
            <a:noAutofit/>
          </a:bodyPr>
          <a:lstStyle>
            <a:lvl1pPr algn="r" defTabSz="99568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a:t>Click to edit Master title style</a:t>
            </a:r>
            <a:endParaRPr lang="en-US" dirty="0"/>
          </a:p>
        </p:txBody>
      </p:sp>
      <p:sp>
        <p:nvSpPr>
          <p:cNvPr id="17" name="Text Placeholder 8"/>
          <p:cNvSpPr>
            <a:spLocks noGrp="1"/>
          </p:cNvSpPr>
          <p:nvPr>
            <p:ph type="body" sz="quarter" idx="10"/>
          </p:nvPr>
        </p:nvSpPr>
        <p:spPr>
          <a:xfrm>
            <a:off x="6568558" y="4609876"/>
            <a:ext cx="5623442" cy="1806302"/>
          </a:xfrm>
        </p:spPr>
        <p:txBody>
          <a:bodyPr lIns="36000" tIns="36000" rIns="360000" bIns="36000" rtlCol="0">
            <a:noAutofit/>
          </a:bodyPr>
          <a:lstStyle>
            <a:lvl1pPr marL="0" indent="0" algn="r" defTabSz="99568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a:t>Click to edit Master text styles</a:t>
            </a: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a:xfrm>
            <a:off x="838200" y="6356350"/>
            <a:ext cx="2743200" cy="365125"/>
          </a:xfrm>
        </p:spPr>
        <p:txBody>
          <a:bodyPr/>
          <a:lstStyle/>
          <a:p>
            <a:fld id="{7916D1FB-58A8-4772-87A9-5BC7F02693E8}" type="datetimeFigureOut">
              <a:rPr lang="en-US" smtClean="0"/>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Date Placeholder 3"/>
          <p:cNvSpPr>
            <a:spLocks noGrp="1"/>
          </p:cNvSpPr>
          <p:nvPr>
            <p:ph type="dt" sz="half" idx="10"/>
          </p:nvPr>
        </p:nvSpPr>
        <p:spPr/>
        <p:txBody>
          <a:bodyPr/>
          <a:lstStyle/>
          <a:p>
            <a:fld id="{73C55A3C-5767-4844-A0A3-83778C2E5409}" type="datetime1">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a:xfrm>
            <a:off x="8018632" y="6292850"/>
            <a:ext cx="3094278" cy="365125"/>
          </a:xfrm>
        </p:spPr>
        <p:txBody>
          <a:bodyPr/>
          <a:lstStyle/>
          <a:p>
            <a:fld id="{1449AA12-8195-4182-A7AC-2E7E59DFBDAF}" type="datetimeFigureOut">
              <a:rPr lang="en-US" smtClean="0"/>
            </a:fld>
            <a:endParaRPr lang="en-US"/>
          </a:p>
        </p:txBody>
      </p:sp>
      <p:sp>
        <p:nvSpPr>
          <p:cNvPr id="5" name="Footer Placeholder 4"/>
          <p:cNvSpPr>
            <a:spLocks noGrp="1"/>
          </p:cNvSpPr>
          <p:nvPr>
            <p:ph type="ftr" sz="quarter" idx="11"/>
          </p:nvPr>
        </p:nvSpPr>
        <p:spPr>
          <a:xfrm>
            <a:off x="1587711" y="6292850"/>
            <a:ext cx="4114800" cy="365125"/>
          </a:xfrm>
        </p:spPr>
        <p:txBody>
          <a:bodyPr/>
          <a:lstStyle/>
          <a:p>
            <a:endParaRPr lang="en-US"/>
          </a:p>
        </p:txBody>
      </p:sp>
      <p:sp>
        <p:nvSpPr>
          <p:cNvPr id="6" name="Slide Number Placeholder 5"/>
          <p:cNvSpPr>
            <a:spLocks noGrp="1"/>
          </p:cNvSpPr>
          <p:nvPr>
            <p:ph type="sldNum" sz="quarter" idx="12"/>
          </p:nvPr>
        </p:nvSpPr>
        <p:spPr>
          <a:xfrm>
            <a:off x="11149574" y="6292850"/>
            <a:ext cx="813816" cy="365125"/>
          </a:xfrm>
        </p:spPr>
        <p:txBody>
          <a:bodyPr/>
          <a:lstStyle/>
          <a:p>
            <a:fld id="{14DFC975-2FD7-44A5-9E78-ECBA46156075}" type="slidenum">
              <a:rPr lang="en-US" smtClean="0"/>
            </a:fld>
            <a:endParaRPr lang="en-US"/>
          </a:p>
        </p:txBody>
      </p:sp>
      <p:sp>
        <p:nvSpPr>
          <p:cNvPr id="51" name="Rectangle 50"/>
          <p:cNvSpPr/>
          <p:nvPr/>
        </p:nvSpPr>
        <p:spPr>
          <a:xfrm>
            <a:off x="0" y="565153"/>
            <a:ext cx="1133856" cy="6292847"/>
          </a:xfrm>
          <a:prstGeom prst="rect">
            <a:avLst/>
          </a:prstGeom>
          <a:gradFill flip="none" rotWithShape="1">
            <a:gsLst>
              <a:gs pos="0">
                <a:schemeClr val="accent1">
                  <a:alpha val="50000"/>
                </a:schemeClr>
              </a:gs>
              <a:gs pos="81000">
                <a:schemeClr val="accent4">
                  <a:alpha val="50000"/>
                </a:schemeClr>
              </a:gs>
              <a:gs pos="25000">
                <a:schemeClr val="accent2">
                  <a:alpha val="60000"/>
                </a:schemeClr>
              </a:gs>
              <a:gs pos="50000">
                <a:schemeClr val="accent3">
                  <a:alpha val="55000"/>
                </a:schemeClr>
              </a:gs>
              <a:gs pos="99000">
                <a:schemeClr val="accent5">
                  <a:alpha val="5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a:off x="0" y="-3"/>
            <a:ext cx="565150" cy="6857999"/>
          </a:xfrm>
          <a:prstGeom prst="rect">
            <a:avLst/>
          </a:prstGeom>
          <a:gradFill flip="none" rotWithShape="1">
            <a:gsLst>
              <a:gs pos="0">
                <a:schemeClr val="accent1">
                  <a:alpha val="50000"/>
                </a:schemeClr>
              </a:gs>
              <a:gs pos="81000">
                <a:schemeClr val="accent4">
                  <a:alpha val="50000"/>
                </a:schemeClr>
              </a:gs>
              <a:gs pos="25000">
                <a:schemeClr val="accent2">
                  <a:alpha val="60000"/>
                </a:schemeClr>
              </a:gs>
              <a:gs pos="49000">
                <a:schemeClr val="accent3">
                  <a:alpha val="55000"/>
                </a:schemeClr>
              </a:gs>
              <a:gs pos="99000">
                <a:schemeClr val="accent5">
                  <a:alpha val="5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295401" y="3763439"/>
            <a:ext cx="9590550" cy="133349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CAE507A8-A5CF-4D38-AB86-7EDDA87A85D4}" type="datetime1">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2" cy="126187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913795" y="2076450"/>
            <a:ext cx="4856841" cy="3622671"/>
          </a:xfrm>
        </p:spPr>
        <p:txBody>
          <a:bodyPr anchor="t">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Content Placeholder 3"/>
          <p:cNvSpPr>
            <a:spLocks noGrp="1"/>
          </p:cNvSpPr>
          <p:nvPr>
            <p:ph sz="half" idx="2"/>
          </p:nvPr>
        </p:nvSpPr>
        <p:spPr>
          <a:xfrm>
            <a:off x="6410716" y="2076451"/>
            <a:ext cx="4856841" cy="3622672"/>
          </a:xfrm>
        </p:spPr>
        <p:txBody>
          <a:bodyPr anchor="t">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Date Placeholder 4"/>
          <p:cNvSpPr>
            <a:spLocks noGrp="1"/>
          </p:cNvSpPr>
          <p:nvPr>
            <p:ph type="dt" sz="half" idx="10"/>
          </p:nvPr>
        </p:nvSpPr>
        <p:spPr/>
        <p:txBody>
          <a:bodyPr/>
          <a:lstStyle/>
          <a:p>
            <a:fld id="{BDFCD27C-8599-43EF-BA1D-14DDC1946E06}"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20" name="Picture 19"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29200" cy="4099959"/>
          </a:xfrm>
          <a:prstGeom prst="rect">
            <a:avLst/>
          </a:prstGeom>
        </p:spPr>
      </p:pic>
      <p:pic>
        <p:nvPicPr>
          <p:cNvPr id="21" name="Picture 20"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8357" y="1734506"/>
            <a:ext cx="5029200" cy="4099959"/>
          </a:xfrm>
          <a:prstGeom prst="rect">
            <a:avLst/>
          </a:prstGeom>
        </p:spPr>
      </p:pic>
      <p:sp>
        <p:nvSpPr>
          <p:cNvPr id="2" name="Title 1"/>
          <p:cNvSpPr>
            <a:spLocks noGrp="1"/>
          </p:cNvSpPr>
          <p:nvPr>
            <p:ph type="title"/>
          </p:nvPr>
        </p:nvSpPr>
        <p:spPr>
          <a:xfrm>
            <a:off x="913795" y="609600"/>
            <a:ext cx="10353762" cy="97045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046013" y="1855153"/>
            <a:ext cx="4764764" cy="69249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1046013" y="2702103"/>
            <a:ext cx="4764764"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Text Placeholder 4"/>
          <p:cNvSpPr>
            <a:spLocks noGrp="1"/>
          </p:cNvSpPr>
          <p:nvPr>
            <p:ph type="body" sz="quarter" idx="3"/>
          </p:nvPr>
        </p:nvSpPr>
        <p:spPr>
          <a:xfrm>
            <a:off x="6363166" y="1855152"/>
            <a:ext cx="4779582" cy="692495"/>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363167" y="2702103"/>
            <a:ext cx="4779581"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7" name="Date Placeholder 6"/>
          <p:cNvSpPr>
            <a:spLocks noGrp="1"/>
          </p:cNvSpPr>
          <p:nvPr>
            <p:ph type="dt" sz="half" idx="10"/>
          </p:nvPr>
        </p:nvSpPr>
        <p:spPr/>
        <p:txBody>
          <a:bodyPr/>
          <a:lstStyle/>
          <a:p>
            <a:fld id="{49343D99-809A-49C0-96E5-4250D0B498EE}" type="datetime1">
              <a:rPr lang="en-US" smtClean="0"/>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143DE9B-B678-4EFB-BB7D-A4370204A0B0}" type="datetime1">
              <a:rPr lang="en-US" smtClean="0"/>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8812DA-F765-4142-A6A3-A8ED7235E082}" type="datetime1">
              <a:rPr lang="en-US" smtClean="0"/>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800" b="0"/>
            </a:lvl1pPr>
          </a:lstStyle>
          <a:p>
            <a:r>
              <a:rPr lang="en-US"/>
              <a:t>Click to edit Master title style</a:t>
            </a:r>
            <a:endParaRPr lang="en-US" dirty="0"/>
          </a:p>
        </p:txBody>
      </p:sp>
      <p:sp>
        <p:nvSpPr>
          <p:cNvPr id="3" name="Content Placeholder 2"/>
          <p:cNvSpPr>
            <a:spLocks noGrp="1"/>
          </p:cNvSpPr>
          <p:nvPr>
            <p:ph idx="1"/>
          </p:nvPr>
        </p:nvSpPr>
        <p:spPr>
          <a:xfrm>
            <a:off x="4855633" y="609600"/>
            <a:ext cx="6411924" cy="5080001"/>
          </a:xfrm>
        </p:spPr>
        <p:txBody>
          <a:bodyPr>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3"/>
          <p:cNvSpPr>
            <a:spLocks noGrp="1"/>
          </p:cNvSpPr>
          <p:nvPr>
            <p:ph type="body" sz="half" idx="2"/>
          </p:nvPr>
        </p:nvSpPr>
        <p:spPr>
          <a:xfrm>
            <a:off x="913795" y="2673351"/>
            <a:ext cx="3706889" cy="3016250"/>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3E0277FD-7DE6-41D4-930D-AC99F5AFE54E}"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22" name="Picture 21" descr="Slate-V2-HD-vert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763701"/>
            <a:ext cx="5707899" cy="1675559"/>
          </a:xfrm>
        </p:spPr>
        <p:txBody>
          <a:bodyPr anchor="b">
            <a:noAutofit/>
          </a:bodyPr>
          <a:lstStyle>
            <a:lvl1pPr algn="ct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473698" y="2679699"/>
            <a:ext cx="4588094" cy="3135695"/>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9EA15526-7079-4B7B-987C-1B5FAE11A0FF}" type="datetime1">
              <a:rPr lang="en-US" smtClean="0"/>
            </a:fld>
            <a:endParaRPr lang="en-US" dirty="0"/>
          </a:p>
        </p:txBody>
      </p:sp>
      <p:sp>
        <p:nvSpPr>
          <p:cNvPr id="6" name="Footer Placeholder 5"/>
          <p:cNvSpPr>
            <a:spLocks noGrp="1"/>
          </p:cNvSpPr>
          <p:nvPr>
            <p:ph type="ftr" sz="quarter" idx="11"/>
          </p:nvPr>
        </p:nvSpPr>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6" Type="http://schemas.openxmlformats.org/officeDocument/2006/relationships/theme" Target="../theme/theme1.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tags" Target="../tags/tag14.xml"/><Relationship Id="rId8" Type="http://schemas.openxmlformats.org/officeDocument/2006/relationships/image" Target="../media/image6.emf"/><Relationship Id="rId7" Type="http://schemas.openxmlformats.org/officeDocument/2006/relationships/oleObject" Target="../embeddings/oleObject6.bin"/><Relationship Id="rId6" Type="http://schemas.openxmlformats.org/officeDocument/2006/relationships/tags" Target="../tags/tag13.xml"/><Relationship Id="rId5" Type="http://schemas.openxmlformats.org/officeDocument/2006/relationships/slideLayout" Target="../slideLayouts/slideLayout20.xml"/><Relationship Id="rId4" Type="http://schemas.openxmlformats.org/officeDocument/2006/relationships/slideLayout" Target="../slideLayouts/slideLayout19.xml"/><Relationship Id="rId3" Type="http://schemas.openxmlformats.org/officeDocument/2006/relationships/slideLayout" Target="../slideLayouts/slideLayout18.xml"/><Relationship Id="rId2" Type="http://schemas.openxmlformats.org/officeDocument/2006/relationships/slideLayout" Target="../slideLayouts/slideLayout17.xml"/><Relationship Id="rId18" Type="http://schemas.openxmlformats.org/officeDocument/2006/relationships/theme" Target="../theme/theme2.xml"/><Relationship Id="rId17" Type="http://schemas.openxmlformats.org/officeDocument/2006/relationships/vmlDrawing" Target="../drawings/vmlDrawing4.vml"/><Relationship Id="rId16" Type="http://schemas.openxmlformats.org/officeDocument/2006/relationships/image" Target="../media/image9.jpeg"/><Relationship Id="rId15" Type="http://schemas.openxmlformats.org/officeDocument/2006/relationships/tags" Target="../tags/tag20.xml"/><Relationship Id="rId14" Type="http://schemas.openxmlformats.org/officeDocument/2006/relationships/tags" Target="../tags/tag19.xml"/><Relationship Id="rId13" Type="http://schemas.openxmlformats.org/officeDocument/2006/relationships/tags" Target="../tags/tag18.xml"/><Relationship Id="rId12" Type="http://schemas.openxmlformats.org/officeDocument/2006/relationships/tags" Target="../tags/tag17.xml"/><Relationship Id="rId11" Type="http://schemas.openxmlformats.org/officeDocument/2006/relationships/tags" Target="../tags/tag16.xml"/><Relationship Id="rId10" Type="http://schemas.openxmlformats.org/officeDocument/2006/relationships/tags" Target="../tags/tag15.xml"/><Relationship Id="rId1"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2" cy="125730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2076450"/>
            <a:ext cx="10353762" cy="3714749"/>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Date Placeholder 3"/>
          <p:cNvSpPr>
            <a:spLocks noGrp="1"/>
          </p:cNvSpPr>
          <p:nvPr>
            <p:ph type="dt" sz="half" idx="2"/>
          </p:nvPr>
        </p:nvSpPr>
        <p:spPr>
          <a:xfrm>
            <a:off x="7678736" y="6000749"/>
            <a:ext cx="2743200"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073ED0CC-082F-4160-86E5-0D6041F12778}" type="datetime1">
              <a:rPr lang="en-US" smtClean="0"/>
            </a:fld>
            <a:endParaRPr lang="en-US" dirty="0"/>
          </a:p>
        </p:txBody>
      </p:sp>
      <p:sp>
        <p:nvSpPr>
          <p:cNvPr id="5" name="Footer Placeholder 4"/>
          <p:cNvSpPr>
            <a:spLocks noGrp="1"/>
          </p:cNvSpPr>
          <p:nvPr>
            <p:ph type="ftr" sz="quarter" idx="3"/>
          </p:nvPr>
        </p:nvSpPr>
        <p:spPr>
          <a:xfrm>
            <a:off x="913795" y="6000749"/>
            <a:ext cx="6672865" cy="365125"/>
          </a:xfrm>
          <a:prstGeom prst="rect">
            <a:avLst/>
          </a:prstGeom>
        </p:spPr>
        <p:txBody>
          <a:bodyPr vert="horz" lIns="91440" tIns="45720" rIns="91440" bIns="45720" rtlCol="0" anchor="ctr"/>
          <a:lstStyle>
            <a:lvl1pPr algn="l">
              <a:defRPr sz="1100">
                <a:solidFill>
                  <a:schemeClr val="tx1">
                    <a:lumMod val="95000"/>
                  </a:schemeClr>
                </a:solidFill>
                <a:effectLst>
                  <a:outerShdw blurRad="50800" dist="38100" dir="2700000" algn="tl" rotWithShape="0">
                    <a:schemeClr val="bg1">
                      <a:alpha val="43000"/>
                    </a:schemeClr>
                  </a:outerShdw>
                </a:effectLst>
              </a:defRPr>
            </a:lvl1pPr>
          </a:lstStyle>
          <a:p>
            <a:endParaRPr lang="en-US" dirty="0"/>
          </a:p>
        </p:txBody>
      </p:sp>
      <p:sp>
        <p:nvSpPr>
          <p:cNvPr id="6" name="Slide Number Placeholder 5"/>
          <p:cNvSpPr>
            <a:spLocks noGrp="1"/>
          </p:cNvSpPr>
          <p:nvPr>
            <p:ph type="sldNum" sz="quarter" idx="4"/>
          </p:nvPr>
        </p:nvSpPr>
        <p:spPr>
          <a:xfrm>
            <a:off x="10514011" y="6000749"/>
            <a:ext cx="753545"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3A98EE3D-8CD1-4C3F-BD1C-C98C9596463C}" type="slidenum">
              <a:rPr lang="en-US" smtClean="0"/>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hf sldNum="0" hdr="0" ftr="0" dt="0"/>
  <p:txStyles>
    <p:titleStyle>
      <a:lvl1pPr algn="ctr" defTabSz="457200" rtl="0" eaLnBrk="1" latinLnBrk="0" hangingPunct="1">
        <a:lnSpc>
          <a:spcPct val="90000"/>
        </a:lnSpc>
        <a:spcBef>
          <a:spcPct val="0"/>
        </a:spcBef>
        <a:buNone/>
        <a:defRPr sz="4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panose="020B0603020202020204"/>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70" algn="l" defTabSz="457200" rtl="0" eaLnBrk="1" latinLnBrk="0" hangingPunct="1">
        <a:lnSpc>
          <a:spcPct val="110000"/>
        </a:lnSpc>
        <a:spcBef>
          <a:spcPct val="20000"/>
        </a:spcBef>
        <a:spcAft>
          <a:spcPts val="600"/>
        </a:spcAft>
        <a:buClr>
          <a:schemeClr val="tx2"/>
        </a:buClr>
        <a:buSzPct val="70000"/>
        <a:buFont typeface="Wingdings 2" panose="05020102010507070707" charset="2"/>
        <a:buChar char=""/>
        <a:defRPr sz="23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90" indent="-269875" algn="l" defTabSz="457200" rtl="0" eaLnBrk="1" latinLnBrk="0" hangingPunct="1">
        <a:spcBef>
          <a:spcPct val="20000"/>
        </a:spcBef>
        <a:spcAft>
          <a:spcPts val="600"/>
        </a:spcAft>
        <a:buClr>
          <a:schemeClr val="tx2"/>
        </a:buClr>
        <a:buSzPct val="70000"/>
        <a:buFont typeface="Wingdings 2" panose="05020102010507070707" charset="2"/>
        <a:buChar char=""/>
        <a:defRPr sz="21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160" indent="-215900" algn="l" defTabSz="457200" rtl="0" eaLnBrk="1" latinLnBrk="0" hangingPunct="1">
        <a:spcBef>
          <a:spcPct val="20000"/>
        </a:spcBef>
        <a:spcAft>
          <a:spcPts val="600"/>
        </a:spcAft>
        <a:buClr>
          <a:schemeClr val="tx2"/>
        </a:buClr>
        <a:buSzPct val="70000"/>
        <a:buFont typeface="Wingdings 2" panose="05020102010507070707"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205" indent="-215900" algn="l" defTabSz="457200" rtl="0" eaLnBrk="1" latinLnBrk="0" hangingPunct="1">
        <a:spcBef>
          <a:spcPct val="20000"/>
        </a:spcBef>
        <a:spcAft>
          <a:spcPts val="600"/>
        </a:spcAft>
        <a:buClr>
          <a:schemeClr val="tx2"/>
        </a:buClr>
        <a:buSzPct val="70000"/>
        <a:buFont typeface="Wingdings 2" panose="05020102010507070707"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3860" indent="-215900" algn="l" defTabSz="457200" rtl="0" eaLnBrk="1" latinLnBrk="0" hangingPunct="1">
        <a:spcBef>
          <a:spcPct val="20000"/>
        </a:spcBef>
        <a:spcAft>
          <a:spcPts val="600"/>
        </a:spcAft>
        <a:buClr>
          <a:schemeClr val="tx2"/>
        </a:buClr>
        <a:buSzPct val="70000"/>
        <a:buFont typeface="Wingdings 2" panose="05020102010507070707"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855"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57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892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42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6"/>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070" name="think-cell Slide" r:id="rId7" imgW="12700" imgH="12700" progId="">
                  <p:embed/>
                </p:oleObj>
              </mc:Choice>
              <mc:Fallback>
                <p:oleObj name="think-cell Slide" r:id="rId7" imgW="12700" imgH="1270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9"/>
            </p:custDataLst>
          </p:nvPr>
        </p:nvSpPr>
        <p:spPr bwMode="auto">
          <a:xfrm>
            <a:off x="0" y="1"/>
            <a:ext cx="12192000" cy="1001713"/>
          </a:xfrm>
          <a:prstGeom prst="rect">
            <a:avLst/>
          </a:prstGeom>
          <a:noFill/>
          <a:ln w="9525">
            <a:noFill/>
            <a:miter lim="800000"/>
          </a:ln>
        </p:spPr>
        <p:txBody>
          <a:bodyPr vert="horz" wrap="square" lIns="297529" tIns="33059" rIns="165294" bIns="33059" numCol="1" anchor="ctr" anchorCtr="0" compatLnSpc="1"/>
          <a:lstStyle/>
          <a:p>
            <a:pPr lvl="0"/>
            <a:r>
              <a:rPr lang="fr-FR"/>
              <a:t>Cliquez pour modifier le style du titre</a:t>
            </a:r>
            <a:endParaRPr lang="en-US"/>
          </a:p>
        </p:txBody>
      </p:sp>
      <p:sp>
        <p:nvSpPr>
          <p:cNvPr id="1029" name="Text Placeholder 2"/>
          <p:cNvSpPr>
            <a:spLocks noGrp="1"/>
          </p:cNvSpPr>
          <p:nvPr>
            <p:ph type="body" idx="1"/>
            <p:custDataLst>
              <p:tags r:id="rId10"/>
            </p:custDataLst>
          </p:nvPr>
        </p:nvSpPr>
        <p:spPr bwMode="auto">
          <a:xfrm>
            <a:off x="398585" y="1501775"/>
            <a:ext cx="11615616" cy="4637088"/>
          </a:xfrm>
          <a:prstGeom prst="rect">
            <a:avLst/>
          </a:prstGeom>
          <a:noFill/>
          <a:ln w="9525">
            <a:noFill/>
            <a:miter lim="800000"/>
          </a:ln>
        </p:spPr>
        <p:txBody>
          <a:bodyPr vert="horz" wrap="square" lIns="108000" tIns="72000" rIns="72000" bIns="72000" numCol="1" anchor="t" anchorCtr="0" compatLnSpc="1"/>
          <a:lstStyle/>
          <a:p>
            <a:pPr lvl="0"/>
            <a:r>
              <a:rPr lang="en-US"/>
              <a:t>Click to edit Master text style</a:t>
            </a:r>
            <a:endParaRPr lang="en-US"/>
          </a:p>
          <a:p>
            <a:pPr lvl="1"/>
            <a:r>
              <a:rPr lang="en-US"/>
              <a:t>Text style level 2</a:t>
            </a:r>
            <a:endParaRPr lang="en-US"/>
          </a:p>
          <a:p>
            <a:pPr lvl="2"/>
            <a:r>
              <a:rPr lang="en-US"/>
              <a:t>Text style level 3</a:t>
            </a:r>
            <a:endParaRPr lang="en-US"/>
          </a:p>
          <a:p>
            <a:pPr lvl="3"/>
            <a:r>
              <a:rPr lang="en-US"/>
              <a:t>Text style level 4</a:t>
            </a:r>
            <a:endParaRPr lang="en-US"/>
          </a:p>
        </p:txBody>
      </p:sp>
      <p:sp>
        <p:nvSpPr>
          <p:cNvPr id="11" name="TextBox 10"/>
          <p:cNvSpPr txBox="1"/>
          <p:nvPr>
            <p:custDataLst>
              <p:tags r:id="rId11"/>
            </p:custDataLst>
          </p:nvPr>
        </p:nvSpPr>
        <p:spPr>
          <a:xfrm>
            <a:off x="11787935" y="6661264"/>
            <a:ext cx="110608" cy="107722"/>
          </a:xfrm>
          <a:prstGeom prst="rect">
            <a:avLst/>
          </a:prstGeom>
          <a:noFill/>
        </p:spPr>
        <p:txBody>
          <a:bodyPr wrap="none" lIns="0" tIns="0" rIns="0" bIns="0" anchor="ctr">
            <a:spAutoFit/>
          </a:bodyPr>
          <a:lstStyle/>
          <a:p>
            <a:pPr algn="ctr" defTabSz="957580" fontAlgn="auto">
              <a:spcBef>
                <a:spcPts val="0"/>
              </a:spcBef>
              <a:spcAft>
                <a:spcPts val="0"/>
              </a:spcAft>
              <a:defRPr/>
            </a:pPr>
            <a:fld id="{F0564213-710B-4D23-9FE5-BACC8F3A0E11}" type="slidenum">
              <a:rPr lang="en-US" sz="700">
                <a:solidFill>
                  <a:schemeClr val="tx2"/>
                </a:solidFill>
                <a:latin typeface="+mn-lt"/>
                <a:cs typeface="+mn-cs"/>
              </a:rPr>
            </a:fld>
            <a:endParaRPr lang="en-US" sz="700" dirty="0">
              <a:solidFill>
                <a:schemeClr val="tx2"/>
              </a:solidFill>
              <a:latin typeface="+mn-lt"/>
              <a:cs typeface="+mn-cs"/>
            </a:endParaRPr>
          </a:p>
        </p:txBody>
      </p:sp>
      <p:sp>
        <p:nvSpPr>
          <p:cNvPr id="9" name="Freeform 4"/>
          <p:cNvSpPr/>
          <p:nvPr>
            <p:custDataLst>
              <p:tags r:id="rId12"/>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defTabSz="957580" fontAlgn="auto">
              <a:spcBef>
                <a:spcPts val="0"/>
              </a:spcBef>
              <a:spcAft>
                <a:spcPts val="0"/>
              </a:spcAft>
              <a:defRPr/>
            </a:pPr>
            <a:endParaRPr lang="fr-FR" sz="1800">
              <a:latin typeface="+mn-lt"/>
              <a:cs typeface="+mn-cs"/>
            </a:endParaRPr>
          </a:p>
        </p:txBody>
      </p:sp>
      <p:sp>
        <p:nvSpPr>
          <p:cNvPr id="12" name="Rectangle 11"/>
          <p:cNvSpPr>
            <a:spLocks noChangeArrowheads="1"/>
          </p:cNvSpPr>
          <p:nvPr>
            <p:custDataLst>
              <p:tags r:id="rId13"/>
            </p:custDataLst>
          </p:nvPr>
        </p:nvSpPr>
        <p:spPr bwMode="auto">
          <a:xfrm>
            <a:off x="8297985" y="6623050"/>
            <a:ext cx="3274646" cy="184150"/>
          </a:xfrm>
          <a:prstGeom prst="rect">
            <a:avLst/>
          </a:prstGeom>
          <a:noFill/>
          <a:ln w="19050">
            <a:noFill/>
            <a:miter lim="800000"/>
          </a:ln>
          <a:effectLst/>
        </p:spPr>
        <p:txBody>
          <a:bodyPr lIns="35997" tIns="35997" rIns="35997" bIns="35997" anchor="b"/>
          <a:lstStyle/>
          <a:p>
            <a:pPr algn="r" defTabSz="995680"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3. All Rights Reserved</a:t>
            </a:r>
            <a:endParaRPr lang="en-US" altLang="en-US" sz="600" dirty="0">
              <a:solidFill>
                <a:schemeClr val="tx2"/>
              </a:solidFill>
              <a:latin typeface="+mj-lt"/>
              <a:cs typeface="Helvetica Light"/>
            </a:endParaRPr>
          </a:p>
        </p:txBody>
      </p:sp>
      <p:sp>
        <p:nvSpPr>
          <p:cNvPr id="13" name="Rectangle 12"/>
          <p:cNvSpPr/>
          <p:nvPr>
            <p:custDataLst>
              <p:tags r:id="rId14"/>
            </p:custDataLst>
          </p:nvPr>
        </p:nvSpPr>
        <p:spPr>
          <a:xfrm>
            <a:off x="9216294" y="6427788"/>
            <a:ext cx="2356338" cy="195262"/>
          </a:xfrm>
          <a:prstGeom prst="rect">
            <a:avLst/>
          </a:prstGeom>
        </p:spPr>
        <p:txBody>
          <a:bodyPr wrap="none" lIns="35997" tIns="35997" rIns="35997" bIns="35997" anchor="b"/>
          <a:lstStyle/>
          <a:p>
            <a:pPr algn="r" defTabSz="957580" fontAlgn="auto">
              <a:spcBef>
                <a:spcPts val="0"/>
              </a:spcBef>
              <a:spcAft>
                <a:spcPts val="0"/>
              </a:spcAft>
              <a:defRPr/>
            </a:pPr>
            <a:r>
              <a:rPr lang="en-US" sz="700" dirty="0">
                <a:solidFill>
                  <a:schemeClr val="tx2"/>
                </a:solidFill>
                <a:latin typeface="+mj-lt"/>
                <a:cs typeface="+mn-cs"/>
              </a:rPr>
              <a:t>Group Presentation | May 2013</a:t>
            </a:r>
            <a:endParaRPr lang="en-US" sz="700" dirty="0">
              <a:solidFill>
                <a:schemeClr val="tx2"/>
              </a:solidFill>
              <a:latin typeface="+mj-lt"/>
              <a:cs typeface="+mn-cs"/>
            </a:endParaRPr>
          </a:p>
        </p:txBody>
      </p:sp>
      <p:cxnSp>
        <p:nvCxnSpPr>
          <p:cNvPr id="15" name="Straight Connector 5"/>
          <p:cNvCxnSpPr/>
          <p:nvPr>
            <p:custDataLst>
              <p:tags r:id="rId15"/>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userDrawn="1"/>
        </p:nvPicPr>
        <p:blipFill>
          <a:blip r:embed="rId16" cstate="print"/>
          <a:srcRect/>
          <a:stretch>
            <a:fillRect/>
          </a:stretch>
        </p:blipFill>
        <p:spPr bwMode="auto">
          <a:xfrm>
            <a:off x="144585" y="6419850"/>
            <a:ext cx="1774092" cy="342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Lst>
  <p:txStyles>
    <p:titleStyle>
      <a:lvl1pPr algn="l" defTabSz="913130"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2pPr>
      <a:lvl3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3pPr>
      <a:lvl4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4pPr>
      <a:lvl5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5pPr>
      <a:lvl6pPr marL="457200" algn="l" defTabSz="913130" rtl="0" fontAlgn="base">
        <a:lnSpc>
          <a:spcPct val="85000"/>
        </a:lnSpc>
        <a:spcBef>
          <a:spcPct val="0"/>
        </a:spcBef>
        <a:spcAft>
          <a:spcPct val="0"/>
        </a:spcAft>
        <a:defRPr sz="3200">
          <a:solidFill>
            <a:schemeClr val="tx1"/>
          </a:solidFill>
          <a:latin typeface="Arial" panose="020B0604020202020204" pitchFamily="34" charset="0"/>
        </a:defRPr>
      </a:lvl6pPr>
      <a:lvl7pPr marL="914400" algn="l" defTabSz="913130" rtl="0" fontAlgn="base">
        <a:lnSpc>
          <a:spcPct val="85000"/>
        </a:lnSpc>
        <a:spcBef>
          <a:spcPct val="0"/>
        </a:spcBef>
        <a:spcAft>
          <a:spcPct val="0"/>
        </a:spcAft>
        <a:defRPr sz="3200">
          <a:solidFill>
            <a:schemeClr val="tx1"/>
          </a:solidFill>
          <a:latin typeface="Arial" panose="020B0604020202020204" pitchFamily="34" charset="0"/>
        </a:defRPr>
      </a:lvl7pPr>
      <a:lvl8pPr marL="1371600" algn="l" defTabSz="913130" rtl="0" fontAlgn="base">
        <a:lnSpc>
          <a:spcPct val="85000"/>
        </a:lnSpc>
        <a:spcBef>
          <a:spcPct val="0"/>
        </a:spcBef>
        <a:spcAft>
          <a:spcPct val="0"/>
        </a:spcAft>
        <a:defRPr sz="3200">
          <a:solidFill>
            <a:schemeClr val="tx1"/>
          </a:solidFill>
          <a:latin typeface="Arial" panose="020B0604020202020204" pitchFamily="34" charset="0"/>
        </a:defRPr>
      </a:lvl8pPr>
      <a:lvl9pPr marL="1828800" algn="l" defTabSz="913130" rtl="0" fontAlgn="base">
        <a:lnSpc>
          <a:spcPct val="85000"/>
        </a:lnSpc>
        <a:spcBef>
          <a:spcPct val="0"/>
        </a:spcBef>
        <a:spcAft>
          <a:spcPct val="0"/>
        </a:spcAft>
        <a:defRPr sz="3200">
          <a:solidFill>
            <a:schemeClr val="tx1"/>
          </a:solidFill>
          <a:latin typeface="Arial" panose="020B0604020202020204" pitchFamily="34" charset="0"/>
        </a:defRPr>
      </a:lvl9pPr>
    </p:titleStyle>
    <p:bodyStyle>
      <a:lvl1pPr marL="165100" indent="-165100" algn="l" defTabSz="913130" rtl="0" eaLnBrk="0" fontAlgn="base" hangingPunct="0">
        <a:lnSpc>
          <a:spcPct val="90000"/>
        </a:lnSpc>
        <a:spcBef>
          <a:spcPct val="0"/>
        </a:spcBef>
        <a:spcAft>
          <a:spcPts val="600"/>
        </a:spcAft>
        <a:buClr>
          <a:srgbClr val="0098CC"/>
        </a:buClr>
        <a:buFont typeface="Wingdings" panose="05000000000000000000" pitchFamily="2" charset="2"/>
        <a:buChar char="§"/>
        <a:defRPr sz="2200" kern="1200">
          <a:solidFill>
            <a:srgbClr val="514A46"/>
          </a:solidFill>
          <a:latin typeface="+mn-lt"/>
          <a:ea typeface="+mn-ea"/>
          <a:cs typeface="+mn-cs"/>
        </a:defRPr>
      </a:lvl1pPr>
      <a:lvl2pPr marL="355600" indent="-180975" algn="l" defTabSz="913130" rtl="0" eaLnBrk="0" fontAlgn="base" hangingPunct="0">
        <a:lnSpc>
          <a:spcPct val="90000"/>
        </a:lnSpc>
        <a:spcBef>
          <a:spcPct val="0"/>
        </a:spcBef>
        <a:spcAft>
          <a:spcPts val="600"/>
        </a:spcAft>
        <a:buClr>
          <a:srgbClr val="B70132"/>
        </a:buClr>
        <a:buFont typeface="Wingdings" panose="05000000000000000000" pitchFamily="2" charset="2"/>
        <a:buChar char="§"/>
        <a:defRPr kern="1200">
          <a:solidFill>
            <a:srgbClr val="514A46"/>
          </a:solidFill>
          <a:latin typeface="+mn-lt"/>
          <a:ea typeface="+mn-ea"/>
          <a:cs typeface="+mn-cs"/>
        </a:defRPr>
      </a:lvl2pPr>
      <a:lvl3pPr marL="536575" indent="-165100" algn="l" defTabSz="913130" rtl="0" eaLnBrk="0" fontAlgn="base" hangingPunct="0">
        <a:lnSpc>
          <a:spcPct val="90000"/>
        </a:lnSpc>
        <a:spcBef>
          <a:spcPct val="0"/>
        </a:spcBef>
        <a:spcAft>
          <a:spcPts val="600"/>
        </a:spcAft>
        <a:buClr>
          <a:schemeClr val="accent2"/>
        </a:buClr>
        <a:buFont typeface="Arial" panose="020B0604020202020204" pitchFamily="34" charset="0"/>
        <a:buChar char="•"/>
        <a:defRPr sz="1600" kern="1200">
          <a:solidFill>
            <a:srgbClr val="514A46"/>
          </a:solidFill>
          <a:latin typeface="+mn-lt"/>
          <a:ea typeface="+mn-ea"/>
          <a:cs typeface="+mn-cs"/>
        </a:defRPr>
      </a:lvl3pPr>
      <a:lvl4pPr marL="711200" indent="-165100" algn="l" defTabSz="913130" rtl="0" eaLnBrk="0" fontAlgn="base" hangingPunct="0">
        <a:lnSpc>
          <a:spcPct val="90000"/>
        </a:lnSpc>
        <a:spcBef>
          <a:spcPct val="0"/>
        </a:spcBef>
        <a:spcAft>
          <a:spcPts val="600"/>
        </a:spcAft>
        <a:buClr>
          <a:schemeClr val="bg2"/>
        </a:buClr>
        <a:buFont typeface="Arial" panose="020B0604020202020204" pitchFamily="34" charset="0"/>
        <a:buChar char="–"/>
        <a:defRPr sz="1400" kern="1200">
          <a:solidFill>
            <a:srgbClr val="514A46"/>
          </a:solidFill>
          <a:latin typeface="+mn-lt"/>
          <a:ea typeface="+mn-ea"/>
          <a:cs typeface="+mn-cs"/>
        </a:defRPr>
      </a:lvl4pPr>
      <a:lvl5pPr marL="1608455" indent="-192405" algn="l" defTabSz="913130" rtl="0" eaLnBrk="0" fontAlgn="base" hangingPunct="0">
        <a:spcBef>
          <a:spcPct val="0"/>
        </a:spcBef>
        <a:spcAft>
          <a:spcPct val="0"/>
        </a:spcAft>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10.jpeg"/><Relationship Id="rId1" Type="http://schemas.openxmlformats.org/officeDocument/2006/relationships/image" Target="../media/image5.jpe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14.pn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15.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16.pn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image" Target="../media/image19.png"/><Relationship Id="rId1" Type="http://schemas.openxmlformats.org/officeDocument/2006/relationships/image" Target="../media/image18.pn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20.pn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21.pn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22.pn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2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image" Target="../media/image25.png"/><Relationship Id="rId1" Type="http://schemas.openxmlformats.org/officeDocument/2006/relationships/image" Target="../media/image24.png"/></Relationships>
</file>

<file path=ppt/slides/_rels/slide21.xml.rels><?xml version="1.0" encoding="UTF-8" standalone="yes"?>
<Relationships xmlns="http://schemas.openxmlformats.org/package/2006/relationships"><Relationship Id="rId7" Type="http://schemas.openxmlformats.org/officeDocument/2006/relationships/slideLayout" Target="../slideLayouts/slideLayout1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image" Target="../media/image26.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image" Target="../media/image33.png"/><Relationship Id="rId1" Type="http://schemas.openxmlformats.org/officeDocument/2006/relationships/image" Target="../media/image3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11.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12.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1">
            <a:duotone>
              <a:schemeClr val="bg1">
                <a:shade val="80000"/>
                <a:lumMod val="80000"/>
              </a:schemeClr>
              <a:schemeClr val="bg1">
                <a:tint val="98000"/>
              </a:schemeClr>
            </a:duotone>
          </a:blip>
          <a:stretch>
            <a:fillRect/>
          </a:stretch>
        </a:blipFill>
        <a:effectLst/>
      </p:bgPr>
    </p:bg>
    <p:spTree>
      <p:nvGrpSpPr>
        <p:cNvPr id="1" name=""/>
        <p:cNvGrpSpPr/>
        <p:nvPr/>
      </p:nvGrpSpPr>
      <p:grpSpPr>
        <a:xfrm>
          <a:off x="0" y="0"/>
          <a:ext cx="0" cy="0"/>
          <a:chOff x="0" y="0"/>
          <a:chExt cx="0" cy="0"/>
        </a:xfrm>
      </p:grpSpPr>
      <p:pic>
        <p:nvPicPr>
          <p:cNvPr id="102" name="Picture 101"/>
          <p:cNvPicPr/>
          <p:nvPr/>
        </p:nvPicPr>
        <p:blipFill>
          <a:blip r:embed="rId2"/>
          <a:stretch>
            <a:fillRect/>
          </a:stretch>
        </p:blipFill>
        <p:spPr>
          <a:xfrm>
            <a:off x="0" y="99060"/>
            <a:ext cx="12192000" cy="6400800"/>
          </a:xfrm>
          <a:prstGeom prst="rect">
            <a:avLst/>
          </a:prstGeom>
          <a:noFill/>
          <a:ln w="9525">
            <a:noFill/>
          </a:ln>
        </p:spPr>
      </p:pic>
      <p:sp>
        <p:nvSpPr>
          <p:cNvPr id="2" name="Title 1"/>
          <p:cNvSpPr>
            <a:spLocks noGrp="1"/>
          </p:cNvSpPr>
          <p:nvPr>
            <p:ph type="ctrTitle"/>
          </p:nvPr>
        </p:nvSpPr>
        <p:spPr>
          <a:xfrm>
            <a:off x="7470775" y="749300"/>
            <a:ext cx="5024755" cy="857885"/>
          </a:xfrm>
        </p:spPr>
        <p:txBody>
          <a:bodyPr>
            <a:normAutofit fontScale="90000"/>
            <a:scene3d>
              <a:camera prst="orthographicFront"/>
              <a:lightRig rig="threePt" dir="t"/>
            </a:scene3d>
          </a:bodyPr>
          <a:lstStyle/>
          <a:p>
            <a:pPr algn="l"/>
            <a:br>
              <a:rPr lang="en-US" sz="2220" b="1" dirty="0">
                <a:gradFill>
                  <a:gsLst>
                    <a:gs pos="0">
                      <a:srgbClr val="012D86"/>
                    </a:gs>
                    <a:gs pos="100000">
                      <a:srgbClr val="0E2557"/>
                    </a:gs>
                  </a:gsLst>
                  <a:lin scaled="0"/>
                </a:gradFill>
                <a:latin typeface="Arial Black" panose="020B0A04020102020204" charset="0"/>
                <a:cs typeface="Arial Black" panose="020B0A04020102020204" charset="0"/>
              </a:rPr>
            </a:br>
            <a:r>
              <a:rPr lang="en-US" sz="2220" b="1" dirty="0">
                <a:ln/>
                <a:solidFill>
                  <a:schemeClr val="bg1"/>
                </a:solidFill>
                <a:effectLst>
                  <a:outerShdw blurRad="38100" dist="25400" dir="5400000" algn="ctr" rotWithShape="0">
                    <a:srgbClr val="6E747A">
                      <a:alpha val="43000"/>
                    </a:srgbClr>
                  </a:outerShdw>
                </a:effectLst>
                <a:latin typeface="Arial Black" panose="020B0A04020102020204" charset="0"/>
                <a:cs typeface="Arial Black" panose="020B0A04020102020204" charset="0"/>
              </a:rPr>
              <a:t>Propensity To Convert Models - Predicting the the likelihood of Customer accepting Personal Loan Offer </a:t>
            </a:r>
            <a:endParaRPr lang="en-US" sz="2220" b="1" dirty="0">
              <a:ln/>
              <a:solidFill>
                <a:schemeClr val="bg1"/>
              </a:solidFill>
              <a:effectLst>
                <a:outerShdw blurRad="38100" dist="25400" dir="5400000" algn="ctr" rotWithShape="0">
                  <a:srgbClr val="6E747A">
                    <a:alpha val="43000"/>
                  </a:srgbClr>
                </a:outerShdw>
              </a:effectLst>
              <a:latin typeface="Arial Black" panose="020B0A04020102020204" charset="0"/>
              <a:cs typeface="Arial Black" panose="020B0A04020102020204" charset="0"/>
            </a:endParaRPr>
          </a:p>
        </p:txBody>
      </p:sp>
      <p:sp>
        <p:nvSpPr>
          <p:cNvPr id="3" name="Subtitle 2"/>
          <p:cNvSpPr>
            <a:spLocks noGrp="1"/>
          </p:cNvSpPr>
          <p:nvPr>
            <p:ph type="subTitle" idx="1"/>
          </p:nvPr>
        </p:nvSpPr>
        <p:spPr>
          <a:xfrm>
            <a:off x="9483090" y="5746750"/>
            <a:ext cx="2435225" cy="596900"/>
          </a:xfrm>
        </p:spPr>
        <p:txBody>
          <a:bodyPr>
            <a:normAutofit/>
          </a:bodyPr>
          <a:lstStyle/>
          <a:p>
            <a:pPr algn="l"/>
            <a:r>
              <a:rPr lang="en-US" sz="2300" dirty="0">
                <a:solidFill>
                  <a:srgbClr val="5792BA"/>
                </a:solidFill>
              </a:rPr>
              <a:t>Supraja Rapuru</a:t>
            </a:r>
            <a:endParaRPr lang="en-US" sz="2300" dirty="0">
              <a:solidFill>
                <a:srgbClr val="5792BA"/>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dirty="0">
                <a:sym typeface="+mn-ea"/>
              </a:rPr>
              <a:t>Exploratory Data Analysis</a:t>
            </a:r>
            <a:endParaRPr lang="en-US" sz="2400" b="1" dirty="0"/>
          </a:p>
        </p:txBody>
      </p:sp>
      <p:sp>
        <p:nvSpPr>
          <p:cNvPr id="3" name="Text Box 2"/>
          <p:cNvSpPr txBox="1"/>
          <p:nvPr/>
        </p:nvSpPr>
        <p:spPr>
          <a:xfrm>
            <a:off x="8067040" y="1925955"/>
            <a:ext cx="2540000" cy="1168400"/>
          </a:xfrm>
          <a:prstGeom prst="rect">
            <a:avLst/>
          </a:prstGeom>
          <a:noFill/>
        </p:spPr>
        <p:txBody>
          <a:bodyPr wrap="square" rtlCol="0" anchor="t">
            <a:spAutoFit/>
          </a:bodyPr>
          <a:p>
            <a:r>
              <a:rPr lang="en-US" sz="1400" dirty="0" err="1" smtClean="0">
                <a:solidFill>
                  <a:schemeClr val="tx2">
                    <a:lumMod val="50000"/>
                  </a:schemeClr>
                </a:solidFill>
              </a:rPr>
              <a:t>The Average Monthly Credit Card spending of the customers are skewed heavily to the left, with a lot of outlier values.</a:t>
            </a:r>
            <a:endParaRPr lang="en-US" sz="1400" dirty="0" err="1" smtClean="0">
              <a:solidFill>
                <a:schemeClr val="tx2">
                  <a:lumMod val="50000"/>
                </a:schemeClr>
              </a:solidFill>
            </a:endParaRPr>
          </a:p>
        </p:txBody>
      </p:sp>
      <p:pic>
        <p:nvPicPr>
          <p:cNvPr id="5" name="Content Placeholder 4"/>
          <p:cNvPicPr>
            <a:picLocks noChangeAspect="1"/>
          </p:cNvPicPr>
          <p:nvPr>
            <p:ph idx="1"/>
          </p:nvPr>
        </p:nvPicPr>
        <p:blipFill>
          <a:blip r:embed="rId1"/>
          <a:stretch>
            <a:fillRect/>
          </a:stretch>
        </p:blipFill>
        <p:spPr>
          <a:xfrm>
            <a:off x="609600" y="1571625"/>
            <a:ext cx="6838950" cy="428625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dirty="0">
                <a:sym typeface="+mn-ea"/>
              </a:rPr>
              <a:t>Exploratory Data Analysis</a:t>
            </a:r>
            <a:endParaRPr lang="en-US" sz="2400" b="1" dirty="0"/>
          </a:p>
        </p:txBody>
      </p:sp>
      <p:sp>
        <p:nvSpPr>
          <p:cNvPr id="3" name="Text Box 2"/>
          <p:cNvSpPr txBox="1"/>
          <p:nvPr/>
        </p:nvSpPr>
        <p:spPr>
          <a:xfrm>
            <a:off x="8067040" y="1925955"/>
            <a:ext cx="2540000" cy="2030095"/>
          </a:xfrm>
          <a:prstGeom prst="rect">
            <a:avLst/>
          </a:prstGeom>
          <a:noFill/>
        </p:spPr>
        <p:txBody>
          <a:bodyPr wrap="square" rtlCol="0" anchor="t">
            <a:spAutoFit/>
          </a:bodyPr>
          <a:p>
            <a:r>
              <a:rPr lang="en-US" sz="1400" dirty="0" err="1" smtClean="0">
                <a:solidFill>
                  <a:schemeClr val="tx2">
                    <a:lumMod val="50000"/>
                  </a:schemeClr>
                </a:solidFill>
              </a:rPr>
              <a:t>The Mortgage amount of the customers are skewed heavily to the left, with a lot of outlier values.</a:t>
            </a:r>
            <a:endParaRPr lang="en-US" sz="1400" dirty="0" err="1" smtClean="0">
              <a:solidFill>
                <a:schemeClr val="tx2">
                  <a:lumMod val="50000"/>
                </a:schemeClr>
              </a:solidFill>
            </a:endParaRPr>
          </a:p>
          <a:p>
            <a:r>
              <a:rPr lang="en-US" sz="1400" dirty="0" err="1" smtClean="0">
                <a:solidFill>
                  <a:schemeClr val="tx2">
                    <a:lumMod val="50000"/>
                  </a:schemeClr>
                </a:solidFill>
              </a:rPr>
              <a:t>The nature of distribution of numerical columns suggest that we may need to standardize the data before training our models.</a:t>
            </a:r>
            <a:endParaRPr lang="en-US" sz="1400" dirty="0" err="1" smtClean="0">
              <a:solidFill>
                <a:schemeClr val="tx2">
                  <a:lumMod val="50000"/>
                </a:schemeClr>
              </a:solidFill>
            </a:endParaRPr>
          </a:p>
        </p:txBody>
      </p:sp>
      <p:pic>
        <p:nvPicPr>
          <p:cNvPr id="4" name="Content Placeholder 3"/>
          <p:cNvPicPr>
            <a:picLocks noChangeAspect="1"/>
          </p:cNvPicPr>
          <p:nvPr>
            <p:ph idx="1"/>
          </p:nvPr>
        </p:nvPicPr>
        <p:blipFill>
          <a:blip r:embed="rId1"/>
          <a:stretch>
            <a:fillRect/>
          </a:stretch>
        </p:blipFill>
        <p:spPr>
          <a:xfrm>
            <a:off x="471805" y="1519555"/>
            <a:ext cx="6769100" cy="4349750"/>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dirty="0">
                <a:sym typeface="+mn-ea"/>
              </a:rPr>
              <a:t>Exploratory Data Analysis</a:t>
            </a:r>
            <a:endParaRPr lang="en-US" sz="2400" b="1" dirty="0"/>
          </a:p>
        </p:txBody>
      </p:sp>
      <p:pic>
        <p:nvPicPr>
          <p:cNvPr id="4" name="Picture 3"/>
          <p:cNvPicPr>
            <a:picLocks noChangeAspect="1"/>
          </p:cNvPicPr>
          <p:nvPr/>
        </p:nvPicPr>
        <p:blipFill>
          <a:blip r:embed="rId1"/>
          <a:stretch>
            <a:fillRect/>
          </a:stretch>
        </p:blipFill>
        <p:spPr>
          <a:xfrm>
            <a:off x="481965" y="1692275"/>
            <a:ext cx="8589645" cy="3370580"/>
          </a:xfrm>
          <a:prstGeom prst="rect">
            <a:avLst/>
          </a:prstGeom>
        </p:spPr>
      </p:pic>
      <p:sp>
        <p:nvSpPr>
          <p:cNvPr id="6" name="Text Box 5"/>
          <p:cNvSpPr txBox="1"/>
          <p:nvPr/>
        </p:nvSpPr>
        <p:spPr>
          <a:xfrm>
            <a:off x="9288780" y="1949450"/>
            <a:ext cx="2540000" cy="3107690"/>
          </a:xfrm>
          <a:prstGeom prst="rect">
            <a:avLst/>
          </a:prstGeom>
          <a:noFill/>
        </p:spPr>
        <p:txBody>
          <a:bodyPr wrap="square" rtlCol="0" anchor="t">
            <a:spAutoFit/>
          </a:bodyPr>
          <a:p>
            <a:r>
              <a:rPr lang="en-US" sz="1400" dirty="0" err="1" smtClean="0">
                <a:solidFill>
                  <a:schemeClr val="tx2">
                    <a:lumMod val="50000"/>
                  </a:schemeClr>
                </a:solidFill>
              </a:rPr>
              <a:t>It is visible from the pie chart that the number of families with a size of 1 (29.44%) are more followed by families with size of 2 (25.92%).</a:t>
            </a:r>
            <a:endParaRPr lang="en-US" sz="1400" dirty="0" err="1" smtClean="0">
              <a:solidFill>
                <a:schemeClr val="tx2">
                  <a:lumMod val="50000"/>
                </a:schemeClr>
              </a:solidFill>
            </a:endParaRPr>
          </a:p>
          <a:p>
            <a:endParaRPr lang="en-US" sz="1400" dirty="0" err="1" smtClean="0">
              <a:solidFill>
                <a:schemeClr val="tx2">
                  <a:lumMod val="50000"/>
                </a:schemeClr>
              </a:solidFill>
            </a:endParaRPr>
          </a:p>
          <a:p>
            <a:r>
              <a:rPr lang="en-US" sz="1400" dirty="0" err="1" smtClean="0">
                <a:solidFill>
                  <a:schemeClr val="tx2">
                    <a:lumMod val="50000"/>
                  </a:schemeClr>
                </a:solidFill>
              </a:rPr>
              <a:t>Grouping it by personal_loan shows that the number of personal loans taken by a family of 4 is the highest. There is an interesting pattern that shows larger families feel a need to get personal loans more.</a:t>
            </a:r>
            <a:endParaRPr lang="en-US" sz="1400" dirty="0" err="1" smtClean="0">
              <a:solidFill>
                <a:schemeClr val="tx2">
                  <a:lumMod val="50000"/>
                </a:schemeClr>
              </a:solidFil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dirty="0">
                <a:sym typeface="+mn-ea"/>
              </a:rPr>
              <a:t>Exploratory Data Analysis</a:t>
            </a:r>
            <a:endParaRPr lang="en-US" sz="2400" b="1" dirty="0"/>
          </a:p>
        </p:txBody>
      </p:sp>
      <p:pic>
        <p:nvPicPr>
          <p:cNvPr id="2" name="Content Placeholder 1"/>
          <p:cNvPicPr>
            <a:picLocks noChangeAspect="1"/>
          </p:cNvPicPr>
          <p:nvPr>
            <p:ph idx="1"/>
          </p:nvPr>
        </p:nvPicPr>
        <p:blipFill>
          <a:blip r:embed="rId1"/>
          <a:stretch>
            <a:fillRect/>
          </a:stretch>
        </p:blipFill>
        <p:spPr>
          <a:xfrm>
            <a:off x="1082040" y="1955165"/>
            <a:ext cx="8330565" cy="3246120"/>
          </a:xfrm>
          <a:prstGeom prst="rect">
            <a:avLst/>
          </a:prstGeom>
        </p:spPr>
      </p:pic>
      <p:sp>
        <p:nvSpPr>
          <p:cNvPr id="3" name="Text Box 2"/>
          <p:cNvSpPr txBox="1"/>
          <p:nvPr/>
        </p:nvSpPr>
        <p:spPr>
          <a:xfrm>
            <a:off x="9514840" y="1755775"/>
            <a:ext cx="2540000" cy="2676525"/>
          </a:xfrm>
          <a:prstGeom prst="rect">
            <a:avLst/>
          </a:prstGeom>
          <a:noFill/>
        </p:spPr>
        <p:txBody>
          <a:bodyPr wrap="square" rtlCol="0" anchor="t">
            <a:spAutoFit/>
          </a:bodyPr>
          <a:p>
            <a:r>
              <a:rPr lang="en-US" sz="1400" dirty="0" err="1" smtClean="0">
                <a:solidFill>
                  <a:schemeClr val="tx2">
                    <a:lumMod val="50000"/>
                  </a:schemeClr>
                </a:solidFill>
              </a:rPr>
              <a:t>Most of the customers are undergraduates. There are more number of customers who have taken a personal_loan and Education level of Advanced followed by Graduates and Undergrads being the lowest which suggests that higher the education level the more the customer is confident and open to opt for personal_loan.</a:t>
            </a:r>
            <a:endParaRPr lang="en-US" sz="1400" dirty="0" err="1" smtClean="0">
              <a:solidFill>
                <a:schemeClr val="tx2">
                  <a:lumMod val="50000"/>
                </a:schemeClr>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dirty="0">
                <a:sym typeface="+mn-ea"/>
              </a:rPr>
              <a:t>Exploratory Data Analysis</a:t>
            </a:r>
            <a:endParaRPr lang="en-US" sz="2400" b="1" dirty="0"/>
          </a:p>
        </p:txBody>
      </p:sp>
      <p:sp>
        <p:nvSpPr>
          <p:cNvPr id="3" name="Text Box 2"/>
          <p:cNvSpPr txBox="1"/>
          <p:nvPr/>
        </p:nvSpPr>
        <p:spPr>
          <a:xfrm>
            <a:off x="6690995" y="1303655"/>
            <a:ext cx="3952875" cy="1599565"/>
          </a:xfrm>
          <a:prstGeom prst="rect">
            <a:avLst/>
          </a:prstGeom>
          <a:noFill/>
        </p:spPr>
        <p:txBody>
          <a:bodyPr wrap="square" rtlCol="0" anchor="t">
            <a:spAutoFit/>
          </a:bodyPr>
          <a:p>
            <a:r>
              <a:rPr lang="en-US" sz="1400" dirty="0" err="1" smtClean="0">
                <a:solidFill>
                  <a:schemeClr val="tx2">
                    <a:lumMod val="50000"/>
                  </a:schemeClr>
                </a:solidFill>
              </a:rPr>
              <a:t>More than 50% of the customers have an average credit card spend in the range of 0-2 but has a very less number of people with personal_loan as compared to other bins. The customers with average credit card spend of 3-4 and 5-6 have a lot of customers who have taken a personal loan</a:t>
            </a:r>
            <a:endParaRPr lang="en-US" sz="1400" dirty="0" err="1" smtClean="0">
              <a:solidFill>
                <a:schemeClr val="tx2">
                  <a:lumMod val="50000"/>
                </a:schemeClr>
              </a:solidFill>
            </a:endParaRPr>
          </a:p>
        </p:txBody>
      </p:sp>
      <p:pic>
        <p:nvPicPr>
          <p:cNvPr id="5" name="Content Placeholder 4"/>
          <p:cNvPicPr>
            <a:picLocks noChangeAspect="1"/>
          </p:cNvPicPr>
          <p:nvPr>
            <p:ph idx="1"/>
          </p:nvPr>
        </p:nvPicPr>
        <p:blipFill>
          <a:blip r:embed="rId1"/>
          <a:stretch>
            <a:fillRect/>
          </a:stretch>
        </p:blipFill>
        <p:spPr>
          <a:xfrm>
            <a:off x="828675" y="1214120"/>
            <a:ext cx="4777740" cy="2610485"/>
          </a:xfrm>
          <a:prstGeom prst="rect">
            <a:avLst/>
          </a:prstGeom>
        </p:spPr>
      </p:pic>
      <p:pic>
        <p:nvPicPr>
          <p:cNvPr id="6" name="Picture 5"/>
          <p:cNvPicPr>
            <a:picLocks noChangeAspect="1"/>
          </p:cNvPicPr>
          <p:nvPr/>
        </p:nvPicPr>
        <p:blipFill>
          <a:blip r:embed="rId2"/>
          <a:stretch>
            <a:fillRect/>
          </a:stretch>
        </p:blipFill>
        <p:spPr>
          <a:xfrm>
            <a:off x="1005840" y="3566795"/>
            <a:ext cx="4726940" cy="294386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dirty="0">
                <a:sym typeface="+mn-ea"/>
              </a:rPr>
              <a:t>Exploratory Data Analysis</a:t>
            </a:r>
            <a:endParaRPr lang="en-US" sz="2400" b="1" dirty="0"/>
          </a:p>
        </p:txBody>
      </p:sp>
      <p:pic>
        <p:nvPicPr>
          <p:cNvPr id="4" name="Content Placeholder 3"/>
          <p:cNvPicPr>
            <a:picLocks noChangeAspect="1"/>
          </p:cNvPicPr>
          <p:nvPr>
            <p:ph idx="1"/>
          </p:nvPr>
        </p:nvPicPr>
        <p:blipFill>
          <a:blip r:embed="rId1"/>
          <a:stretch>
            <a:fillRect/>
          </a:stretch>
        </p:blipFill>
        <p:spPr>
          <a:xfrm>
            <a:off x="708025" y="2060575"/>
            <a:ext cx="7593965" cy="3037840"/>
          </a:xfrm>
          <a:prstGeom prst="rect">
            <a:avLst/>
          </a:prstGeom>
        </p:spPr>
      </p:pic>
      <p:sp>
        <p:nvSpPr>
          <p:cNvPr id="5" name="Text Box 4"/>
          <p:cNvSpPr txBox="1"/>
          <p:nvPr/>
        </p:nvSpPr>
        <p:spPr>
          <a:xfrm>
            <a:off x="8498840" y="2060575"/>
            <a:ext cx="3361690" cy="2030095"/>
          </a:xfrm>
          <a:prstGeom prst="rect">
            <a:avLst/>
          </a:prstGeom>
          <a:noFill/>
        </p:spPr>
        <p:txBody>
          <a:bodyPr wrap="square" rtlCol="0" anchor="t">
            <a:spAutoFit/>
          </a:bodyPr>
          <a:p>
            <a:r>
              <a:rPr lang="en-US" sz="1400" dirty="0" err="1" smtClean="0">
                <a:solidFill>
                  <a:schemeClr val="tx2">
                    <a:lumMod val="50000"/>
                  </a:schemeClr>
                </a:solidFill>
                <a:sym typeface="+mn-ea"/>
              </a:rPr>
              <a:t>Majority of people do not have a securities account with the bank.</a:t>
            </a:r>
            <a:endParaRPr lang="en-US" sz="1400" dirty="0" err="1" smtClean="0">
              <a:solidFill>
                <a:schemeClr val="tx2">
                  <a:lumMod val="50000"/>
                </a:schemeClr>
              </a:solidFill>
              <a:sym typeface="+mn-ea"/>
            </a:endParaRPr>
          </a:p>
          <a:p>
            <a:endParaRPr lang="en-US" sz="1400" dirty="0" err="1" smtClean="0">
              <a:solidFill>
                <a:schemeClr val="tx2">
                  <a:lumMod val="50000"/>
                </a:schemeClr>
              </a:solidFill>
              <a:sym typeface="+mn-ea"/>
            </a:endParaRPr>
          </a:p>
          <a:p>
            <a:r>
              <a:rPr lang="en-US" sz="1400" dirty="0" err="1" smtClean="0">
                <a:solidFill>
                  <a:schemeClr val="tx2">
                    <a:lumMod val="50000"/>
                  </a:schemeClr>
                </a:solidFill>
                <a:sym typeface="+mn-ea"/>
              </a:rPr>
              <a:t>It is interesting to note that the percentage of people who have taken a personal loan and have a securities account is more than the percentage of people who have taken a personal loan but don't have a securities account.</a:t>
            </a:r>
            <a:endParaRPr lang="en-US" sz="1400" dirty="0" err="1" smtClean="0">
              <a:solidFill>
                <a:schemeClr val="tx2">
                  <a:lumMod val="50000"/>
                </a:schemeClr>
              </a:solidFill>
              <a:sym typeface="+mn-ea"/>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dirty="0">
                <a:sym typeface="+mn-ea"/>
              </a:rPr>
              <a:t>Exploratory Data Analysis</a:t>
            </a:r>
            <a:endParaRPr lang="en-US" sz="2400" b="1" dirty="0"/>
          </a:p>
        </p:txBody>
      </p:sp>
      <p:pic>
        <p:nvPicPr>
          <p:cNvPr id="3" name="Content Placeholder 2"/>
          <p:cNvPicPr>
            <a:picLocks noChangeAspect="1"/>
          </p:cNvPicPr>
          <p:nvPr>
            <p:ph idx="1"/>
          </p:nvPr>
        </p:nvPicPr>
        <p:blipFill>
          <a:blip r:embed="rId1"/>
          <a:stretch>
            <a:fillRect/>
          </a:stretch>
        </p:blipFill>
        <p:spPr>
          <a:xfrm>
            <a:off x="872490" y="2128520"/>
            <a:ext cx="8022590" cy="3182620"/>
          </a:xfrm>
          <a:prstGeom prst="rect">
            <a:avLst/>
          </a:prstGeom>
        </p:spPr>
      </p:pic>
      <p:sp>
        <p:nvSpPr>
          <p:cNvPr id="5" name="Text Box 4"/>
          <p:cNvSpPr txBox="1"/>
          <p:nvPr/>
        </p:nvSpPr>
        <p:spPr>
          <a:xfrm>
            <a:off x="8830310" y="1834515"/>
            <a:ext cx="2854960" cy="1814830"/>
          </a:xfrm>
          <a:prstGeom prst="rect">
            <a:avLst/>
          </a:prstGeom>
          <a:noFill/>
        </p:spPr>
        <p:txBody>
          <a:bodyPr wrap="square" rtlCol="0" anchor="t">
            <a:spAutoFit/>
          </a:bodyPr>
          <a:p>
            <a:r>
              <a:rPr lang="en-US" sz="1400" dirty="0" err="1" smtClean="0">
                <a:solidFill>
                  <a:schemeClr val="tx2">
                    <a:lumMod val="50000"/>
                  </a:schemeClr>
                </a:solidFill>
                <a:sym typeface="+mn-ea"/>
              </a:rPr>
              <a:t> There a more number of customers who have a cd_account at the bank and have taken a personal_loan previously. Regardless of whether they have a cd_account or not, majority of them have an income of more than 100.</a:t>
            </a:r>
            <a:endParaRPr lang="en-US" sz="1400" dirty="0" err="1" smtClean="0">
              <a:solidFill>
                <a:schemeClr val="tx2">
                  <a:lumMod val="50000"/>
                </a:schemeClr>
              </a:solidFill>
              <a:sym typeface="+mn-ea"/>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dirty="0">
                <a:sym typeface="+mn-ea"/>
              </a:rPr>
              <a:t>Exploratory Data Analysis</a:t>
            </a:r>
            <a:endParaRPr lang="en-US" sz="2400" b="1" dirty="0"/>
          </a:p>
        </p:txBody>
      </p:sp>
      <p:pic>
        <p:nvPicPr>
          <p:cNvPr id="4" name="Content Placeholder 3"/>
          <p:cNvPicPr>
            <a:picLocks noChangeAspect="1"/>
          </p:cNvPicPr>
          <p:nvPr>
            <p:ph idx="1"/>
          </p:nvPr>
        </p:nvPicPr>
        <p:blipFill>
          <a:blip r:embed="rId1"/>
          <a:stretch>
            <a:fillRect/>
          </a:stretch>
        </p:blipFill>
        <p:spPr>
          <a:xfrm>
            <a:off x="817880" y="1887855"/>
            <a:ext cx="8053070" cy="3248660"/>
          </a:xfrm>
          <a:prstGeom prst="rect">
            <a:avLst/>
          </a:prstGeom>
        </p:spPr>
      </p:pic>
      <p:sp>
        <p:nvSpPr>
          <p:cNvPr id="5" name="Text Box 4"/>
          <p:cNvSpPr txBox="1"/>
          <p:nvPr/>
        </p:nvSpPr>
        <p:spPr>
          <a:xfrm>
            <a:off x="9048750" y="1812925"/>
            <a:ext cx="2769235" cy="2461260"/>
          </a:xfrm>
          <a:prstGeom prst="rect">
            <a:avLst/>
          </a:prstGeom>
          <a:noFill/>
        </p:spPr>
        <p:txBody>
          <a:bodyPr wrap="square" rtlCol="0" anchor="t">
            <a:spAutoFit/>
          </a:bodyPr>
          <a:p>
            <a:r>
              <a:rPr lang="en-US" sz="1400" dirty="0" err="1" smtClean="0">
                <a:solidFill>
                  <a:schemeClr val="tx2">
                    <a:lumMod val="50000"/>
                  </a:schemeClr>
                </a:solidFill>
                <a:sym typeface="+mn-ea"/>
              </a:rPr>
              <a:t> It is interesting to note that there many people who use online modes of transactions than people who still go the traditional way and amongst these people, the ones who use online modes of transaction, are more interested in opting for personal_loans maybe because spending money online is easy and tempting.</a:t>
            </a:r>
            <a:endParaRPr lang="en-US" sz="1400" dirty="0" err="1" smtClean="0">
              <a:solidFill>
                <a:schemeClr val="tx2">
                  <a:lumMod val="50000"/>
                </a:schemeClr>
              </a:solidFill>
              <a:sym typeface="+mn-ea"/>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dirty="0">
                <a:sym typeface="+mn-ea"/>
              </a:rPr>
              <a:t>Exploratory Data Analysis</a:t>
            </a:r>
            <a:endParaRPr lang="en-US" sz="2400" b="1" dirty="0"/>
          </a:p>
        </p:txBody>
      </p:sp>
      <p:sp>
        <p:nvSpPr>
          <p:cNvPr id="3" name="Text Box 2"/>
          <p:cNvSpPr txBox="1"/>
          <p:nvPr/>
        </p:nvSpPr>
        <p:spPr>
          <a:xfrm>
            <a:off x="7285355" y="1925955"/>
            <a:ext cx="3321685" cy="1383665"/>
          </a:xfrm>
          <a:prstGeom prst="rect">
            <a:avLst/>
          </a:prstGeom>
          <a:noFill/>
        </p:spPr>
        <p:txBody>
          <a:bodyPr wrap="square" rtlCol="0" anchor="t">
            <a:spAutoFit/>
          </a:bodyPr>
          <a:p>
            <a:r>
              <a:rPr lang="en-US" sz="1400" dirty="0" err="1" smtClean="0">
                <a:solidFill>
                  <a:schemeClr val="tx2">
                    <a:lumMod val="50000"/>
                  </a:schemeClr>
                </a:solidFill>
              </a:rPr>
              <a:t>There is a very strong positive correlation between Age and Work Experience, which is expected.</a:t>
            </a:r>
            <a:endParaRPr lang="en-US" sz="1400" dirty="0" err="1" smtClean="0">
              <a:solidFill>
                <a:schemeClr val="tx2">
                  <a:lumMod val="50000"/>
                </a:schemeClr>
              </a:solidFill>
            </a:endParaRPr>
          </a:p>
          <a:p>
            <a:r>
              <a:rPr lang="en-US" sz="1400" dirty="0" err="1" smtClean="0">
                <a:solidFill>
                  <a:schemeClr val="tx2">
                    <a:lumMod val="50000"/>
                  </a:schemeClr>
                </a:solidFill>
              </a:rPr>
              <a:t>There is also a positive correlation between Income and Credit Card spending.</a:t>
            </a:r>
            <a:endParaRPr lang="en-US" sz="1400" dirty="0" err="1" smtClean="0">
              <a:solidFill>
                <a:schemeClr val="tx2">
                  <a:lumMod val="50000"/>
                </a:schemeClr>
              </a:solidFill>
            </a:endParaRPr>
          </a:p>
        </p:txBody>
      </p:sp>
      <p:pic>
        <p:nvPicPr>
          <p:cNvPr id="5" name="Content Placeholder 4"/>
          <p:cNvPicPr>
            <a:picLocks noChangeAspect="1"/>
          </p:cNvPicPr>
          <p:nvPr>
            <p:ph idx="1"/>
          </p:nvPr>
        </p:nvPicPr>
        <p:blipFill>
          <a:blip r:embed="rId1"/>
          <a:stretch>
            <a:fillRect/>
          </a:stretch>
        </p:blipFill>
        <p:spPr>
          <a:xfrm>
            <a:off x="1091565" y="1873250"/>
            <a:ext cx="4411980" cy="3498215"/>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dirty="0">
                <a:sym typeface="+mn-ea"/>
              </a:rPr>
              <a:t>Data Preparation</a:t>
            </a:r>
            <a:endParaRPr lang="en-US" sz="2400" b="1" dirty="0"/>
          </a:p>
        </p:txBody>
      </p:sp>
      <p:sp>
        <p:nvSpPr>
          <p:cNvPr id="4" name="Content Placeholder 3"/>
          <p:cNvSpPr>
            <a:spLocks noGrp="1"/>
          </p:cNvSpPr>
          <p:nvPr>
            <p:ph idx="1"/>
          </p:nvPr>
        </p:nvSpPr>
        <p:spPr>
          <a:xfrm>
            <a:off x="644525" y="1748790"/>
            <a:ext cx="7849235" cy="1132205"/>
          </a:xfrm>
        </p:spPr>
        <p:txBody>
          <a:bodyPr>
            <a:normAutofit/>
          </a:bodyPr>
          <a:p>
            <a:r>
              <a:rPr lang="en-US" dirty="0"/>
              <a:t>No missing values</a:t>
            </a:r>
            <a:endParaRPr lang="en-US" dirty="0"/>
          </a:p>
          <a:p>
            <a:r>
              <a:rPr lang="en-US" dirty="0"/>
              <a:t>Drop ID for modeling</a:t>
            </a:r>
            <a:endParaRPr lang="en-US" dirty="0"/>
          </a:p>
          <a:p>
            <a:pPr lvl="1"/>
            <a:endParaRPr lang="en-US" dirty="0"/>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endParaRPr lang="en-US" dirty="0"/>
          </a:p>
        </p:txBody>
      </p:sp>
      <p:sp>
        <p:nvSpPr>
          <p:cNvPr id="3" name="Content Placeholder 2"/>
          <p:cNvSpPr>
            <a:spLocks noGrp="1"/>
          </p:cNvSpPr>
          <p:nvPr>
            <p:ph sz="quarter" idx="10"/>
          </p:nvPr>
        </p:nvSpPr>
        <p:spPr>
          <a:xfrm>
            <a:off x="3738245" y="1721485"/>
            <a:ext cx="5488940" cy="3437255"/>
          </a:xfrm>
        </p:spPr>
        <p:txBody>
          <a:bodyPr/>
          <a:lstStyle/>
          <a:p>
            <a:pPr algn="just"/>
            <a:r>
              <a:rPr lang="en-US" sz="2000" dirty="0"/>
              <a:t>Introduction</a:t>
            </a:r>
            <a:endParaRPr lang="en-US" sz="2000" dirty="0"/>
          </a:p>
          <a:p>
            <a:pPr marL="165100" lvl="1" indent="-165100" algn="just">
              <a:buSzTx/>
              <a:buFont typeface="Wingdings" panose="05000000000000000000" pitchFamily="2" charset="2"/>
              <a:buChar char="§"/>
            </a:pPr>
            <a:r>
              <a:rPr lang="en-US" sz="2000" dirty="0">
                <a:sym typeface="+mn-ea"/>
              </a:rPr>
              <a:t>Personal Loan Data</a:t>
            </a:r>
            <a:endParaRPr lang="en-US" sz="2000" dirty="0">
              <a:sym typeface="+mn-ea"/>
            </a:endParaRPr>
          </a:p>
          <a:p>
            <a:pPr marL="165100" lvl="1" indent="-165100" algn="just">
              <a:buSzTx/>
              <a:buFont typeface="Wingdings" panose="05000000000000000000" pitchFamily="2" charset="2"/>
              <a:buChar char="§"/>
            </a:pPr>
            <a:r>
              <a:rPr lang="en-US" sz="2000" dirty="0">
                <a:sym typeface="+mn-ea"/>
              </a:rPr>
              <a:t>Predictive Modeling</a:t>
            </a:r>
            <a:endParaRPr lang="en-US" sz="2000" dirty="0"/>
          </a:p>
          <a:p>
            <a:pPr marL="165100" lvl="1" indent="-165100" algn="just">
              <a:buSzTx/>
              <a:buFont typeface="Wingdings" panose="05000000000000000000" pitchFamily="2" charset="2"/>
              <a:buChar char="§"/>
            </a:pPr>
            <a:r>
              <a:rPr lang="en-US" sz="2000" dirty="0">
                <a:sym typeface="+mn-ea"/>
              </a:rPr>
              <a:t>Risks / Contingencies</a:t>
            </a:r>
            <a:endParaRPr lang="en-US" sz="2000" dirty="0"/>
          </a:p>
          <a:p>
            <a:pPr algn="just">
              <a:buSzTx/>
            </a:pPr>
            <a:r>
              <a:rPr lang="en-US" sz="2000" dirty="0">
                <a:sym typeface="+mn-ea"/>
              </a:rPr>
              <a:t>Exploratory Data Analysis</a:t>
            </a:r>
            <a:endParaRPr lang="en-US" sz="2000" dirty="0"/>
          </a:p>
          <a:p>
            <a:pPr algn="just">
              <a:buSzTx/>
            </a:pPr>
            <a:r>
              <a:rPr lang="en-US" sz="2000" dirty="0"/>
              <a:t>Data Preparation</a:t>
            </a:r>
            <a:endParaRPr lang="en-US" sz="2000" dirty="0"/>
          </a:p>
          <a:p>
            <a:pPr algn="just">
              <a:buSzTx/>
            </a:pPr>
            <a:r>
              <a:rPr lang="en-US" sz="2000" dirty="0"/>
              <a:t>Overall Model Performance</a:t>
            </a:r>
            <a:endParaRPr lang="en-US" sz="2000" dirty="0"/>
          </a:p>
          <a:p>
            <a:pPr algn="just">
              <a:buSzTx/>
            </a:pPr>
            <a:r>
              <a:rPr lang="en-US" sz="2000" dirty="0"/>
              <a:t>Conclusion</a:t>
            </a:r>
            <a:endParaRPr lang="en-US" sz="2000" dirty="0"/>
          </a:p>
          <a:p>
            <a:pPr marL="0" indent="0" algn="just">
              <a:buNone/>
            </a:pPr>
            <a:endParaRPr lang="en-US" sz="2400" dirty="0"/>
          </a:p>
          <a:p>
            <a:pPr marL="0" indent="0" algn="just">
              <a:buNone/>
            </a:pPr>
            <a:endParaRPr lang="en-US" sz="1600" dirty="0"/>
          </a:p>
          <a:p>
            <a:pPr lvl="1">
              <a:buNone/>
            </a:pPr>
            <a:endParaRPr lang="en-US" sz="1600" dirty="0"/>
          </a:p>
          <a:p>
            <a:pPr lvl="1">
              <a:buNone/>
            </a:pPr>
            <a:endParaRPr lang="en-US" sz="16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dirty="0">
                <a:sym typeface="+mn-ea"/>
              </a:rPr>
              <a:t>Feature Selection</a:t>
            </a:r>
            <a:endParaRPr lang="en-US" sz="2400" b="1" dirty="0"/>
          </a:p>
        </p:txBody>
      </p:sp>
      <p:pic>
        <p:nvPicPr>
          <p:cNvPr id="3" name="Content Placeholder 2"/>
          <p:cNvPicPr>
            <a:picLocks noChangeAspect="1"/>
          </p:cNvPicPr>
          <p:nvPr>
            <p:ph idx="1"/>
          </p:nvPr>
        </p:nvPicPr>
        <p:blipFill>
          <a:blip r:embed="rId1"/>
          <a:stretch>
            <a:fillRect/>
          </a:stretch>
        </p:blipFill>
        <p:spPr>
          <a:xfrm>
            <a:off x="474980" y="1567815"/>
            <a:ext cx="10113645" cy="1317625"/>
          </a:xfrm>
          <a:prstGeom prst="rect">
            <a:avLst/>
          </a:prstGeom>
        </p:spPr>
      </p:pic>
      <p:pic>
        <p:nvPicPr>
          <p:cNvPr id="5" name="Picture 4"/>
          <p:cNvPicPr>
            <a:picLocks noChangeAspect="1"/>
          </p:cNvPicPr>
          <p:nvPr/>
        </p:nvPicPr>
        <p:blipFill>
          <a:blip r:embed="rId2"/>
          <a:stretch>
            <a:fillRect/>
          </a:stretch>
        </p:blipFill>
        <p:spPr>
          <a:xfrm>
            <a:off x="584835" y="3203575"/>
            <a:ext cx="5759450" cy="3092450"/>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1"/>
          <a:stretch>
            <a:fillRect/>
          </a:stretch>
        </p:blipFill>
        <p:spPr>
          <a:xfrm>
            <a:off x="8346440" y="4587875"/>
            <a:ext cx="2552700" cy="1016000"/>
          </a:xfrm>
          <a:prstGeom prst="rect">
            <a:avLst/>
          </a:prstGeom>
          <a:ln>
            <a:solidFill>
              <a:srgbClr val="00B050"/>
            </a:solidFill>
          </a:ln>
        </p:spPr>
      </p:pic>
      <p:sp>
        <p:nvSpPr>
          <p:cNvPr id="44" name="Title 1"/>
          <p:cNvSpPr>
            <a:spLocks noGrp="1"/>
          </p:cNvSpPr>
          <p:nvPr>
            <p:ph type="title"/>
          </p:nvPr>
        </p:nvSpPr>
        <p:spPr/>
        <p:txBody>
          <a:bodyPr/>
          <a:lstStyle/>
          <a:p>
            <a:r>
              <a:rPr lang="en-US" sz="2400" dirty="0">
                <a:sym typeface="+mn-ea"/>
              </a:rPr>
              <a:t>Base Models</a:t>
            </a:r>
            <a:endParaRPr lang="en-US" sz="2400" b="1" dirty="0"/>
          </a:p>
        </p:txBody>
      </p:sp>
      <p:pic>
        <p:nvPicPr>
          <p:cNvPr id="4" name="Content Placeholder 3"/>
          <p:cNvPicPr>
            <a:picLocks noChangeAspect="1"/>
          </p:cNvPicPr>
          <p:nvPr>
            <p:ph idx="1"/>
          </p:nvPr>
        </p:nvPicPr>
        <p:blipFill>
          <a:blip r:embed="rId2"/>
          <a:stretch>
            <a:fillRect/>
          </a:stretch>
        </p:blipFill>
        <p:spPr>
          <a:xfrm>
            <a:off x="1137285" y="2914650"/>
            <a:ext cx="3162300" cy="990600"/>
          </a:xfrm>
          <a:prstGeom prst="rect">
            <a:avLst/>
          </a:prstGeom>
        </p:spPr>
      </p:pic>
      <p:pic>
        <p:nvPicPr>
          <p:cNvPr id="6" name="Picture 5"/>
          <p:cNvPicPr>
            <a:picLocks noChangeAspect="1"/>
          </p:cNvPicPr>
          <p:nvPr/>
        </p:nvPicPr>
        <p:blipFill>
          <a:blip r:embed="rId3"/>
          <a:stretch>
            <a:fillRect/>
          </a:stretch>
        </p:blipFill>
        <p:spPr>
          <a:xfrm>
            <a:off x="4627880" y="2914650"/>
            <a:ext cx="2997200" cy="958850"/>
          </a:xfrm>
          <a:prstGeom prst="rect">
            <a:avLst/>
          </a:prstGeom>
        </p:spPr>
      </p:pic>
      <p:pic>
        <p:nvPicPr>
          <p:cNvPr id="7" name="Picture 6"/>
          <p:cNvPicPr>
            <a:picLocks noChangeAspect="1"/>
          </p:cNvPicPr>
          <p:nvPr/>
        </p:nvPicPr>
        <p:blipFill>
          <a:blip r:embed="rId4"/>
          <a:stretch>
            <a:fillRect/>
          </a:stretch>
        </p:blipFill>
        <p:spPr>
          <a:xfrm>
            <a:off x="8228965" y="2914650"/>
            <a:ext cx="3028950" cy="939800"/>
          </a:xfrm>
          <a:prstGeom prst="rect">
            <a:avLst/>
          </a:prstGeom>
        </p:spPr>
      </p:pic>
      <p:pic>
        <p:nvPicPr>
          <p:cNvPr id="8" name="Picture 7"/>
          <p:cNvPicPr>
            <a:picLocks noChangeAspect="1"/>
          </p:cNvPicPr>
          <p:nvPr/>
        </p:nvPicPr>
        <p:blipFill>
          <a:blip r:embed="rId5"/>
          <a:stretch>
            <a:fillRect/>
          </a:stretch>
        </p:blipFill>
        <p:spPr>
          <a:xfrm>
            <a:off x="1248410" y="4700270"/>
            <a:ext cx="2400300" cy="996950"/>
          </a:xfrm>
          <a:prstGeom prst="rect">
            <a:avLst/>
          </a:prstGeom>
        </p:spPr>
      </p:pic>
      <p:pic>
        <p:nvPicPr>
          <p:cNvPr id="9" name="Picture 8"/>
          <p:cNvPicPr>
            <a:picLocks noChangeAspect="1"/>
          </p:cNvPicPr>
          <p:nvPr/>
        </p:nvPicPr>
        <p:blipFill>
          <a:blip r:embed="rId6"/>
          <a:stretch>
            <a:fillRect/>
          </a:stretch>
        </p:blipFill>
        <p:spPr>
          <a:xfrm>
            <a:off x="4627880" y="4611370"/>
            <a:ext cx="2387600" cy="1085850"/>
          </a:xfrm>
          <a:prstGeom prst="rect">
            <a:avLst/>
          </a:prstGeom>
        </p:spPr>
      </p:pic>
      <p:sp>
        <p:nvSpPr>
          <p:cNvPr id="11" name="Text Box 10"/>
          <p:cNvSpPr txBox="1"/>
          <p:nvPr/>
        </p:nvSpPr>
        <p:spPr>
          <a:xfrm>
            <a:off x="1473835" y="1520190"/>
            <a:ext cx="9207500" cy="953135"/>
          </a:xfrm>
          <a:prstGeom prst="rect">
            <a:avLst/>
          </a:prstGeom>
          <a:noFill/>
        </p:spPr>
        <p:txBody>
          <a:bodyPr wrap="square" rtlCol="0" anchor="t">
            <a:spAutoFit/>
          </a:bodyPr>
          <a:p>
            <a:pPr marL="285750" indent="-285750">
              <a:lnSpc>
                <a:spcPct val="100000"/>
              </a:lnSpc>
              <a:buFont typeface="Arial" panose="020B0604020202020204" pitchFamily="34" charset="0"/>
              <a:buChar char="•"/>
            </a:pPr>
            <a:r>
              <a:rPr lang="en-US" sz="1400" dirty="0">
                <a:sym typeface="+mn-ea"/>
              </a:rPr>
              <a:t>All data was included, no class balancing</a:t>
            </a:r>
            <a:endParaRPr lang="en-US" sz="1400" dirty="0"/>
          </a:p>
          <a:p>
            <a:pPr marL="285750" indent="-285750">
              <a:lnSpc>
                <a:spcPct val="100000"/>
              </a:lnSpc>
              <a:buFont typeface="Arial" panose="020B0604020202020204" pitchFamily="34" charset="0"/>
              <a:buChar char="•"/>
            </a:pPr>
            <a:r>
              <a:rPr lang="en-US" sz="1400" dirty="0">
                <a:sym typeface="+mn-ea"/>
              </a:rPr>
              <a:t>Pipeline included 6 different models (random forest, logistic regression, Gaussian Naïve Bayes, linear support vector, Decision Trees, and K-nearest neighbors)</a:t>
            </a:r>
            <a:endParaRPr lang="en-US" sz="1400" dirty="0"/>
          </a:p>
          <a:p>
            <a:pPr marL="285750" indent="-285750">
              <a:lnSpc>
                <a:spcPct val="100000"/>
              </a:lnSpc>
              <a:buFont typeface="Arial" panose="020B0604020202020204" pitchFamily="34" charset="0"/>
              <a:buChar char="•"/>
            </a:pPr>
            <a:r>
              <a:rPr lang="en-US" sz="1400" b="1" dirty="0">
                <a:sym typeface="+mn-ea"/>
              </a:rPr>
              <a:t>Random Forest had the highest accuracy (98% in training)</a:t>
            </a:r>
            <a:endParaRPr lang="en-US" sz="1400" b="1" dirty="0" err="1" smtClean="0">
              <a:solidFill>
                <a:schemeClr val="tx2">
                  <a:lumMod val="50000"/>
                </a:schemeClr>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dirty="0">
                <a:sym typeface="+mn-ea"/>
              </a:rPr>
              <a:t>Tuning &amp; Overall Model Performance</a:t>
            </a:r>
            <a:endParaRPr lang="en-US" sz="2400" b="1" dirty="0"/>
          </a:p>
        </p:txBody>
      </p:sp>
      <p:sp>
        <p:nvSpPr>
          <p:cNvPr id="3" name="Text Box 2"/>
          <p:cNvSpPr txBox="1"/>
          <p:nvPr/>
        </p:nvSpPr>
        <p:spPr>
          <a:xfrm>
            <a:off x="874395" y="1443990"/>
            <a:ext cx="9711055" cy="1168400"/>
          </a:xfrm>
          <a:prstGeom prst="rect">
            <a:avLst/>
          </a:prstGeom>
          <a:noFill/>
        </p:spPr>
        <p:txBody>
          <a:bodyPr wrap="square" rtlCol="0" anchor="t">
            <a:spAutoFit/>
          </a:bodyPr>
          <a:p>
            <a:r>
              <a:rPr lang="en-US" sz="1400" dirty="0" err="1" smtClean="0">
                <a:solidFill>
                  <a:schemeClr val="tx2">
                    <a:lumMod val="50000"/>
                  </a:schemeClr>
                </a:solidFill>
              </a:rPr>
              <a:t>Used GridSearch for Hyperparameter tuning of our tree model. Grid search is a tuning technique that attempts to compute the optimum values of hyperparameters.</a:t>
            </a:r>
            <a:endParaRPr lang="en-US" sz="1400" dirty="0" err="1" smtClean="0">
              <a:solidFill>
                <a:schemeClr val="tx2">
                  <a:lumMod val="50000"/>
                </a:schemeClr>
              </a:solidFill>
            </a:endParaRPr>
          </a:p>
          <a:p>
            <a:endParaRPr lang="en-US" sz="1400" dirty="0" err="1" smtClean="0">
              <a:solidFill>
                <a:schemeClr val="tx2">
                  <a:lumMod val="50000"/>
                </a:schemeClr>
              </a:solidFill>
            </a:endParaRPr>
          </a:p>
          <a:p>
            <a:r>
              <a:rPr lang="en-US" sz="1400" dirty="0" err="1" smtClean="0">
                <a:solidFill>
                  <a:schemeClr val="tx2">
                    <a:lumMod val="50000"/>
                  </a:schemeClr>
                </a:solidFill>
              </a:rPr>
              <a:t>It is an exhaustive search that is performed on a the specific parameter values of a model. The parameters of the estimator/model used to apply these methods are optimized by cross-validated grid-search over a parameter grid.</a:t>
            </a:r>
            <a:endParaRPr lang="en-US" sz="1400" dirty="0" err="1" smtClean="0">
              <a:solidFill>
                <a:schemeClr val="tx2">
                  <a:lumMod val="50000"/>
                </a:schemeClr>
              </a:solidFill>
            </a:endParaRPr>
          </a:p>
        </p:txBody>
      </p:sp>
      <p:pic>
        <p:nvPicPr>
          <p:cNvPr id="5" name="Content Placeholder 4"/>
          <p:cNvPicPr>
            <a:picLocks noChangeAspect="1"/>
          </p:cNvPicPr>
          <p:nvPr>
            <p:ph idx="1"/>
          </p:nvPr>
        </p:nvPicPr>
        <p:blipFill>
          <a:blip r:embed="rId1"/>
          <a:stretch>
            <a:fillRect/>
          </a:stretch>
        </p:blipFill>
        <p:spPr>
          <a:xfrm>
            <a:off x="1045845" y="2990850"/>
            <a:ext cx="4381500" cy="876300"/>
          </a:xfrm>
          <a:prstGeom prst="rect">
            <a:avLst/>
          </a:prstGeom>
        </p:spPr>
      </p:pic>
      <p:pic>
        <p:nvPicPr>
          <p:cNvPr id="12" name="Picture 11"/>
          <p:cNvPicPr>
            <a:picLocks noChangeAspect="1"/>
          </p:cNvPicPr>
          <p:nvPr/>
        </p:nvPicPr>
        <p:blipFill>
          <a:blip r:embed="rId2"/>
          <a:stretch>
            <a:fillRect/>
          </a:stretch>
        </p:blipFill>
        <p:spPr>
          <a:xfrm>
            <a:off x="5791200" y="4051935"/>
            <a:ext cx="3657600" cy="1111250"/>
          </a:xfrm>
          <a:prstGeom prst="rect">
            <a:avLst/>
          </a:prstGeom>
          <a:ln w="12700">
            <a:solidFill>
              <a:srgbClr val="00B050"/>
            </a:solidFill>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b="1" dirty="0"/>
              <a:t>Conclusion</a:t>
            </a:r>
            <a:endParaRPr lang="en-US" sz="2400" b="1" dirty="0"/>
          </a:p>
        </p:txBody>
      </p:sp>
      <p:sp>
        <p:nvSpPr>
          <p:cNvPr id="2" name="Text Box 1"/>
          <p:cNvSpPr txBox="1"/>
          <p:nvPr/>
        </p:nvSpPr>
        <p:spPr>
          <a:xfrm>
            <a:off x="1188720" y="1443990"/>
            <a:ext cx="10291445" cy="4092575"/>
          </a:xfrm>
          <a:prstGeom prst="rect">
            <a:avLst/>
          </a:prstGeom>
          <a:noFill/>
        </p:spPr>
        <p:txBody>
          <a:bodyPr wrap="square" rtlCol="0" anchor="t">
            <a:spAutoFit/>
          </a:bodyPr>
          <a:p>
            <a:pPr marL="342900" lvl="0" indent="-342900" algn="l">
              <a:buClrTx/>
              <a:buSzTx/>
              <a:buFont typeface="Arial" panose="020B0604020202020204" pitchFamily="34" charset="0"/>
              <a:buChar char="•"/>
            </a:pPr>
            <a:r>
              <a:rPr lang="en-US" sz="2000" dirty="0">
                <a:sym typeface="+mn-ea"/>
              </a:rPr>
              <a:t>Overall accuracy averaged between 90% and ~100%</a:t>
            </a:r>
            <a:endParaRPr lang="en-US" sz="2000" dirty="0">
              <a:sym typeface="+mn-ea"/>
            </a:endParaRPr>
          </a:p>
          <a:p>
            <a:pPr marL="342900" lvl="0" indent="-342900" algn="l">
              <a:buClrTx/>
              <a:buSzTx/>
              <a:buFont typeface="Arial" panose="020B0604020202020204" pitchFamily="34" charset="0"/>
              <a:buChar char="•"/>
            </a:pPr>
            <a:r>
              <a:rPr lang="en-US" sz="2000" dirty="0">
                <a:sym typeface="+mn-ea"/>
              </a:rPr>
              <a:t>Few key insights to highlight,</a:t>
            </a:r>
            <a:r>
              <a:rPr lang="en-US" sz="2000" dirty="0">
                <a:sym typeface="+mn-ea"/>
              </a:rPr>
              <a:t> </a:t>
            </a:r>
            <a:r>
              <a:rPr lang="en-US" sz="2000" dirty="0">
                <a:sym typeface="+mn-ea"/>
              </a:rPr>
              <a:t>Income ,Educatoin,Family,CCavg are most important factor.</a:t>
            </a:r>
            <a:endParaRPr lang="en-US" sz="2000" dirty="0">
              <a:sym typeface="+mn-ea"/>
            </a:endParaRPr>
          </a:p>
          <a:p>
            <a:pPr marL="342900" lvl="0" indent="-342900" algn="l">
              <a:buClrTx/>
              <a:buSzTx/>
              <a:buFont typeface="Arial" panose="020B0604020202020204" pitchFamily="34" charset="0"/>
              <a:buChar char="•"/>
            </a:pPr>
            <a:r>
              <a:rPr lang="en-US" sz="2000" dirty="0">
                <a:sym typeface="+mn-ea"/>
              </a:rPr>
              <a:t>Customers who have income above 98k dollars , Advance/graduate level education, a family of more than 2, such customers have higher chances of taking personal loans.</a:t>
            </a:r>
            <a:endParaRPr lang="en-US" sz="2000" dirty="0">
              <a:sym typeface="+mn-ea"/>
            </a:endParaRPr>
          </a:p>
          <a:p>
            <a:pPr marL="342900" lvl="0" indent="-342900" algn="l">
              <a:buClrTx/>
              <a:buSzTx/>
              <a:buFont typeface="Arial" panose="020B0604020202020204" pitchFamily="34" charset="0"/>
              <a:buChar char="•"/>
            </a:pPr>
            <a:endParaRPr lang="en-US" sz="2000" dirty="0">
              <a:sym typeface="+mn-ea"/>
            </a:endParaRPr>
          </a:p>
          <a:p>
            <a:pPr marL="342900" lvl="0" indent="-342900" algn="l">
              <a:buClrTx/>
              <a:buSzTx/>
              <a:buFont typeface="Arial" panose="020B0604020202020204" pitchFamily="34" charset="0"/>
              <a:buChar char="•"/>
            </a:pPr>
            <a:r>
              <a:rPr lang="en-US" sz="2000" dirty="0">
                <a:sym typeface="+mn-ea"/>
              </a:rPr>
              <a:t>High Profile Clients :-Higher income,Advanced/Graduate level education, 3 /4 Family members,high spending</a:t>
            </a:r>
            <a:endParaRPr lang="en-US" sz="2000" dirty="0">
              <a:sym typeface="+mn-ea"/>
            </a:endParaRPr>
          </a:p>
          <a:p>
            <a:pPr marL="342900" lvl="0" indent="-342900" algn="l">
              <a:buClrTx/>
              <a:buSzTx/>
              <a:buFont typeface="Arial" panose="020B0604020202020204" pitchFamily="34" charset="0"/>
              <a:buChar char="•"/>
            </a:pPr>
            <a:endParaRPr lang="en-US" sz="2000" dirty="0">
              <a:sym typeface="+mn-ea"/>
            </a:endParaRPr>
          </a:p>
          <a:p>
            <a:pPr marL="342900" lvl="0" indent="-342900" algn="l">
              <a:buClrTx/>
              <a:buSzTx/>
              <a:buFont typeface="Arial" panose="020B0604020202020204" pitchFamily="34" charset="0"/>
              <a:buChar char="•"/>
            </a:pPr>
            <a:r>
              <a:rPr lang="en-US" sz="2000" dirty="0">
                <a:sym typeface="+mn-ea"/>
              </a:rPr>
              <a:t>Average Profile :- Medium income group,Graduate level education.3/4Family members,medium spending</a:t>
            </a:r>
            <a:endParaRPr lang="en-US" sz="2000" dirty="0">
              <a:sym typeface="+mn-ea"/>
            </a:endParaRPr>
          </a:p>
          <a:p>
            <a:pPr marL="342900" lvl="0" indent="-342900" algn="l">
              <a:buClrTx/>
              <a:buSzTx/>
              <a:buFont typeface="Arial" panose="020B0604020202020204" pitchFamily="34" charset="0"/>
              <a:buChar char="•"/>
            </a:pPr>
            <a:endParaRPr lang="en-US" sz="2000" dirty="0">
              <a:sym typeface="+mn-ea"/>
            </a:endParaRPr>
          </a:p>
          <a:p>
            <a:pPr marL="342900" lvl="0" indent="-342900" algn="l">
              <a:buClrTx/>
              <a:buSzTx/>
              <a:buFont typeface="Arial" panose="020B0604020202020204" pitchFamily="34" charset="0"/>
              <a:buChar char="•"/>
            </a:pPr>
            <a:r>
              <a:rPr lang="en-US" sz="2000" dirty="0">
                <a:sym typeface="+mn-ea"/>
              </a:rPr>
              <a:t>Low Profile:-Lower income group,undergrads ,3/4Family Member,low spending</a:t>
            </a:r>
            <a:endParaRPr lang="en-US" sz="2000" dirty="0">
              <a:sym typeface="+mn-e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a:xfrm>
            <a:off x="228600" y="0"/>
            <a:ext cx="3518535" cy="1002030"/>
          </a:xfrm>
        </p:spPr>
        <p:txBody>
          <a:bodyPr/>
          <a:lstStyle/>
          <a:p>
            <a:r>
              <a:rPr lang="en-US" sz="2400" b="1" dirty="0"/>
              <a:t>Introduction</a:t>
            </a:r>
            <a:endParaRPr lang="en-US" sz="2400" dirty="0"/>
          </a:p>
        </p:txBody>
      </p:sp>
      <p:sp>
        <p:nvSpPr>
          <p:cNvPr id="22" name="Text Box 21"/>
          <p:cNvSpPr txBox="1"/>
          <p:nvPr/>
        </p:nvSpPr>
        <p:spPr>
          <a:xfrm>
            <a:off x="466090" y="1652270"/>
            <a:ext cx="11028045" cy="3169285"/>
          </a:xfrm>
          <a:prstGeom prst="rect">
            <a:avLst/>
          </a:prstGeom>
          <a:noFill/>
        </p:spPr>
        <p:txBody>
          <a:bodyPr wrap="square" rtlCol="0">
            <a:spAutoFit/>
          </a:bodyPr>
          <a:p>
            <a:pPr algn="just"/>
            <a:r>
              <a:rPr lang="en-US" sz="2000" dirty="0"/>
              <a:t>Banks spend millions of dollars on marketing teams and the campaigns in targeting right customer, right channel where the response rate is higher when offer is made. Based on various studies made and the observation I have at my work, the response rate is very low, response rate is below 5% in personal loans space. </a:t>
            </a:r>
            <a:endParaRPr lang="en-US" sz="2000" dirty="0"/>
          </a:p>
          <a:p>
            <a:pPr algn="just"/>
            <a:endParaRPr lang="en-US" sz="2000" dirty="0"/>
          </a:p>
          <a:p>
            <a:pPr algn="just"/>
            <a:r>
              <a:rPr lang="en-US" sz="2000" dirty="0"/>
              <a:t>The low acceptance rate means that randomly choosing customers to market to is incredibly wasteful in terms of both time and money. Thus, it is in the interest of the banks to determine which customers are the most likely to accept this type of loan based on the customer's information. Also the creatives that are being sent are looked at being more personalized so that message in the offer resonates with their situation and make the customers to accept the rate.</a:t>
            </a:r>
            <a:endParaRPr lang="en-US" sz="20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a:xfrm>
            <a:off x="228600" y="0"/>
            <a:ext cx="3518535" cy="1002030"/>
          </a:xfrm>
        </p:spPr>
        <p:txBody>
          <a:bodyPr/>
          <a:lstStyle/>
          <a:p>
            <a:r>
              <a:rPr lang="en-US" sz="2400" b="1" dirty="0"/>
              <a:t>Personal Loan Data</a:t>
            </a:r>
            <a:endParaRPr lang="en-US" sz="2400" b="1" dirty="0"/>
          </a:p>
        </p:txBody>
      </p:sp>
      <p:sp>
        <p:nvSpPr>
          <p:cNvPr id="22" name="Text Box 21"/>
          <p:cNvSpPr txBox="1"/>
          <p:nvPr/>
        </p:nvSpPr>
        <p:spPr>
          <a:xfrm>
            <a:off x="581660" y="1623060"/>
            <a:ext cx="11028045" cy="3169285"/>
          </a:xfrm>
          <a:prstGeom prst="rect">
            <a:avLst/>
          </a:prstGeom>
          <a:noFill/>
        </p:spPr>
        <p:txBody>
          <a:bodyPr wrap="square" rtlCol="0">
            <a:spAutoFit/>
          </a:bodyPr>
          <a:p>
            <a:pPr marL="342900" indent="-342900">
              <a:buFont typeface="Arial" panose="020B0604020202020204" pitchFamily="34" charset="0"/>
              <a:buChar char="•"/>
            </a:pPr>
            <a:r>
              <a:rPr lang="en-US" sz="2000" dirty="0">
                <a:sym typeface="+mn-ea"/>
              </a:rPr>
              <a:t>Simulated dataset from Kaggle titled "Personal Loan Modeling" . It contains a list of bank customer's data resulting from a marketing campaign. </a:t>
            </a:r>
            <a:endParaRPr lang="en-US" sz="2000" dirty="0">
              <a:sym typeface="+mn-ea"/>
            </a:endParaRPr>
          </a:p>
          <a:p>
            <a:pPr marL="342900" indent="-342900">
              <a:buFont typeface="Arial" panose="020B0604020202020204" pitchFamily="34" charset="0"/>
              <a:buChar char="•"/>
            </a:pPr>
            <a:endParaRPr lang="en-US" sz="2000" dirty="0">
              <a:sym typeface="+mn-ea"/>
            </a:endParaRPr>
          </a:p>
          <a:p>
            <a:pPr marL="342900" indent="-342900">
              <a:buFont typeface="Arial" panose="020B0604020202020204" pitchFamily="34" charset="0"/>
              <a:buChar char="•"/>
            </a:pPr>
            <a:r>
              <a:rPr lang="en-US" sz="2000" dirty="0">
                <a:sym typeface="+mn-ea"/>
              </a:rPr>
              <a:t>The data include customer demographic information (age, income, etc.), the customer's relationship with the bank (mortgage, securities account, etc.), and the customer response to the last personal loan campaign (Personal Loan). Among these 5000 customers, only 480 (= 9.6%) accepted the personal loan that was offered to them in the earlier campaign.</a:t>
            </a:r>
            <a:endParaRPr lang="en-US" sz="2000" dirty="0">
              <a:sym typeface="+mn-ea"/>
            </a:endParaRPr>
          </a:p>
          <a:p>
            <a:pPr marL="342900" indent="-342900">
              <a:buFont typeface="Arial" panose="020B0604020202020204" pitchFamily="34" charset="0"/>
              <a:buChar char="•"/>
            </a:pPr>
            <a:endParaRPr lang="en-US" sz="2000" dirty="0">
              <a:sym typeface="+mn-ea"/>
            </a:endParaRPr>
          </a:p>
          <a:p>
            <a:pPr marL="342900" indent="-342900">
              <a:buFont typeface="Arial" panose="020B0604020202020204" pitchFamily="34" charset="0"/>
              <a:buChar char="•"/>
            </a:pPr>
            <a:r>
              <a:rPr lang="en-US" sz="2000" dirty="0">
                <a:sym typeface="+mn-ea"/>
              </a:rPr>
              <a:t>14 features</a:t>
            </a:r>
            <a:endParaRPr lang="en-US" sz="2000" dirty="0"/>
          </a:p>
          <a:p>
            <a:pPr marL="800100" lvl="1" indent="-342900">
              <a:buFont typeface="Arial" panose="020B0604020202020204" pitchFamily="34" charset="0"/>
              <a:buChar char="•"/>
            </a:pPr>
            <a:r>
              <a:rPr lang="en-US" sz="2000" dirty="0">
                <a:sym typeface="+mn-ea"/>
              </a:rPr>
              <a:t>all are numerical</a:t>
            </a:r>
            <a:endParaRPr lang="en-US" sz="2000" dirty="0" err="1" smtClean="0">
              <a:solidFill>
                <a:schemeClr val="tx2">
                  <a:lumMod val="50000"/>
                </a:schemeClr>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a:xfrm>
            <a:off x="228600" y="0"/>
            <a:ext cx="3518535" cy="1002030"/>
          </a:xfrm>
        </p:spPr>
        <p:txBody>
          <a:bodyPr/>
          <a:lstStyle/>
          <a:p>
            <a:r>
              <a:rPr lang="en-US" sz="2400" b="1" dirty="0"/>
              <a:t>Predictive Modeling</a:t>
            </a:r>
            <a:endParaRPr lang="en-US" sz="2400" b="1" dirty="0"/>
          </a:p>
        </p:txBody>
      </p:sp>
      <p:sp>
        <p:nvSpPr>
          <p:cNvPr id="22" name="Text Box 21"/>
          <p:cNvSpPr txBox="1"/>
          <p:nvPr/>
        </p:nvSpPr>
        <p:spPr>
          <a:xfrm>
            <a:off x="581660" y="1623060"/>
            <a:ext cx="11028045" cy="2245360"/>
          </a:xfrm>
          <a:prstGeom prst="rect">
            <a:avLst/>
          </a:prstGeom>
          <a:noFill/>
        </p:spPr>
        <p:txBody>
          <a:bodyPr wrap="square" rtlCol="0">
            <a:spAutoFit/>
          </a:bodyPr>
          <a:p>
            <a:pPr marL="342900" indent="-342900">
              <a:buFont typeface="Arial" panose="020B0604020202020204" pitchFamily="34" charset="0"/>
              <a:buChar char="•"/>
            </a:pPr>
            <a:r>
              <a:rPr lang="en-US" sz="2000" dirty="0">
                <a:sym typeface="+mn-ea"/>
              </a:rPr>
              <a:t>Classification problem</a:t>
            </a:r>
            <a:endParaRPr lang="en-US" sz="2000" dirty="0"/>
          </a:p>
          <a:p>
            <a:pPr lvl="1"/>
            <a:r>
              <a:rPr lang="en-US" sz="2000" dirty="0">
                <a:sym typeface="+mn-ea"/>
              </a:rPr>
              <a:t>Logistic Regression</a:t>
            </a:r>
            <a:endParaRPr lang="en-US" sz="2000" dirty="0"/>
          </a:p>
          <a:p>
            <a:pPr lvl="1"/>
            <a:r>
              <a:rPr lang="en-US" sz="2000" dirty="0">
                <a:sym typeface="+mn-ea"/>
              </a:rPr>
              <a:t>Random Forest </a:t>
            </a:r>
            <a:endParaRPr lang="en-US" sz="2000" dirty="0"/>
          </a:p>
          <a:p>
            <a:pPr lvl="1"/>
            <a:r>
              <a:rPr lang="en-US" sz="2000" dirty="0">
                <a:sym typeface="+mn-ea"/>
              </a:rPr>
              <a:t>K-nearest Neighbors</a:t>
            </a:r>
            <a:endParaRPr lang="en-US" sz="2000" dirty="0"/>
          </a:p>
          <a:p>
            <a:pPr marL="342900" indent="-342900">
              <a:buFont typeface="Arial" panose="020B0604020202020204" pitchFamily="34" charset="0"/>
              <a:buChar char="•"/>
            </a:pPr>
            <a:r>
              <a:rPr lang="en-US" sz="2000" dirty="0">
                <a:sym typeface="+mn-ea"/>
              </a:rPr>
              <a:t>Grid Search with cross validation</a:t>
            </a:r>
            <a:endParaRPr lang="en-US" sz="2000" dirty="0"/>
          </a:p>
          <a:p>
            <a:pPr lvl="1"/>
            <a:r>
              <a:rPr lang="en-US" sz="2000" dirty="0">
                <a:sym typeface="+mn-ea"/>
              </a:rPr>
              <a:t>Test multiple different models with multiple different hyperparameters</a:t>
            </a:r>
            <a:endParaRPr lang="en-US" sz="2000" dirty="0"/>
          </a:p>
          <a:p>
            <a:pPr lvl="1"/>
            <a:r>
              <a:rPr lang="en-US" sz="2000" dirty="0">
                <a:sym typeface="+mn-ea"/>
              </a:rPr>
              <a:t>Cross validates and selects the best model / hyperparameter combo for the dataset</a:t>
            </a:r>
            <a:endParaRPr lang="en-US" sz="2000" dirty="0" err="1" smtClean="0">
              <a:solidFill>
                <a:schemeClr val="tx2">
                  <a:lumMod val="50000"/>
                </a:schemeClr>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a:xfrm>
            <a:off x="228600" y="0"/>
            <a:ext cx="3518535" cy="1002030"/>
          </a:xfrm>
        </p:spPr>
        <p:txBody>
          <a:bodyPr/>
          <a:lstStyle/>
          <a:p>
            <a:r>
              <a:rPr lang="en-US" sz="2400" dirty="0">
                <a:sym typeface="+mn-ea"/>
              </a:rPr>
              <a:t>Risks / Contingencies</a:t>
            </a:r>
            <a:endParaRPr lang="en-US" sz="2400" b="1" dirty="0"/>
          </a:p>
        </p:txBody>
      </p:sp>
      <p:sp>
        <p:nvSpPr>
          <p:cNvPr id="22" name="Text Box 21"/>
          <p:cNvSpPr txBox="1"/>
          <p:nvPr/>
        </p:nvSpPr>
        <p:spPr>
          <a:xfrm>
            <a:off x="581660" y="1623060"/>
            <a:ext cx="11028045" cy="2861310"/>
          </a:xfrm>
          <a:prstGeom prst="rect">
            <a:avLst/>
          </a:prstGeom>
          <a:noFill/>
        </p:spPr>
        <p:txBody>
          <a:bodyPr wrap="square" rtlCol="0">
            <a:spAutoFit/>
          </a:bodyPr>
          <a:p>
            <a:pPr marL="342900" indent="-342900">
              <a:buFont typeface="Arial" panose="020B0604020202020204" pitchFamily="34" charset="0"/>
              <a:buChar char="•"/>
            </a:pPr>
            <a:r>
              <a:rPr lang="en-US" sz="2000" dirty="0">
                <a:sym typeface="+mn-ea"/>
              </a:rPr>
              <a:t>The dataset is small and simulated dataset, it is highly possible that few models may perform poorly on the data hence as a contingency plan, I have aimed to apply multiple models and compare the results but still results may not be aligned with real world scenario but I take this opportunity in validating my understanding with end to end flow of applying predictive analytics to a problem. </a:t>
            </a:r>
            <a:endParaRPr lang="en-US" sz="2000" dirty="0">
              <a:sym typeface="+mn-ea"/>
            </a:endParaRPr>
          </a:p>
          <a:p>
            <a:pPr marL="342900" indent="-342900">
              <a:buFont typeface="Arial" panose="020B0604020202020204" pitchFamily="34" charset="0"/>
              <a:buChar char="•"/>
            </a:pPr>
            <a:endParaRPr lang="en-US" sz="2000" dirty="0">
              <a:sym typeface="+mn-ea"/>
            </a:endParaRPr>
          </a:p>
          <a:p>
            <a:pPr marL="342900" indent="-342900">
              <a:buFont typeface="Arial" panose="020B0604020202020204" pitchFamily="34" charset="0"/>
              <a:buChar char="•"/>
            </a:pPr>
            <a:r>
              <a:rPr lang="en-US" sz="2000" dirty="0">
                <a:sym typeface="+mn-ea"/>
              </a:rPr>
              <a:t>In general such datasets would be imbalanced so I am keeping closed tab on sampling (under/over) and also hyper parameter tuning because it could help the algorithms distinguish the majority class from the minority data group in our dataset</a:t>
            </a:r>
            <a:endParaRPr lang="en-US" sz="2000" dirty="0">
              <a:sym typeface="+mn-ea"/>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dirty="0">
                <a:sym typeface="+mn-ea"/>
              </a:rPr>
              <a:t>Exploratory Data Analysis</a:t>
            </a:r>
            <a:endParaRPr lang="en-US" sz="2400" b="1" dirty="0"/>
          </a:p>
        </p:txBody>
      </p:sp>
      <p:pic>
        <p:nvPicPr>
          <p:cNvPr id="2" name="Content Placeholder 1"/>
          <p:cNvPicPr>
            <a:picLocks noChangeAspect="1"/>
          </p:cNvPicPr>
          <p:nvPr>
            <p:ph idx="1"/>
          </p:nvPr>
        </p:nvPicPr>
        <p:blipFill>
          <a:blip r:embed="rId1"/>
          <a:stretch>
            <a:fillRect/>
          </a:stretch>
        </p:blipFill>
        <p:spPr>
          <a:xfrm>
            <a:off x="644525" y="1565910"/>
            <a:ext cx="6769100" cy="4216400"/>
          </a:xfrm>
          <a:prstGeom prst="rect">
            <a:avLst/>
          </a:prstGeom>
        </p:spPr>
      </p:pic>
      <p:sp>
        <p:nvSpPr>
          <p:cNvPr id="3" name="Text Box 2"/>
          <p:cNvSpPr txBox="1"/>
          <p:nvPr/>
        </p:nvSpPr>
        <p:spPr>
          <a:xfrm>
            <a:off x="8067040" y="1925955"/>
            <a:ext cx="2540000" cy="953135"/>
          </a:xfrm>
          <a:prstGeom prst="rect">
            <a:avLst/>
          </a:prstGeom>
          <a:noFill/>
        </p:spPr>
        <p:txBody>
          <a:bodyPr wrap="square" rtlCol="0" anchor="t">
            <a:spAutoFit/>
          </a:bodyPr>
          <a:p>
            <a:r>
              <a:rPr lang="en-US" sz="1400" dirty="0" err="1" smtClean="0">
                <a:solidFill>
                  <a:schemeClr val="tx2">
                    <a:lumMod val="50000"/>
                  </a:schemeClr>
                </a:solidFill>
              </a:rPr>
              <a:t>The age of the customers are uniformly distributed between the Min age of 23 and Max age of 67</a:t>
            </a:r>
            <a:endParaRPr lang="en-US" sz="1400" dirty="0" err="1" smtClean="0">
              <a:solidFill>
                <a:schemeClr val="tx2">
                  <a:lumMod val="50000"/>
                </a:schemeClr>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dirty="0">
                <a:sym typeface="+mn-ea"/>
              </a:rPr>
              <a:t>Exploratory Data Analysis</a:t>
            </a:r>
            <a:endParaRPr lang="en-US" sz="2400" b="1" dirty="0"/>
          </a:p>
        </p:txBody>
      </p:sp>
      <p:sp>
        <p:nvSpPr>
          <p:cNvPr id="3" name="Text Box 2"/>
          <p:cNvSpPr txBox="1"/>
          <p:nvPr/>
        </p:nvSpPr>
        <p:spPr>
          <a:xfrm>
            <a:off x="8067040" y="1925955"/>
            <a:ext cx="2540000" cy="1168400"/>
          </a:xfrm>
          <a:prstGeom prst="rect">
            <a:avLst/>
          </a:prstGeom>
          <a:noFill/>
        </p:spPr>
        <p:txBody>
          <a:bodyPr wrap="square" rtlCol="0" anchor="t">
            <a:spAutoFit/>
          </a:bodyPr>
          <a:p>
            <a:r>
              <a:rPr lang="en-US" sz="1400" dirty="0" err="1" smtClean="0">
                <a:solidFill>
                  <a:schemeClr val="tx2">
                    <a:lumMod val="50000"/>
                  </a:schemeClr>
                </a:solidFill>
              </a:rPr>
              <a:t>The work experience of the customers are uniformly distributed between the Minimum of -3 and Maximum of 43.</a:t>
            </a:r>
            <a:endParaRPr lang="en-US" sz="1400" dirty="0" err="1" smtClean="0">
              <a:solidFill>
                <a:schemeClr val="tx2">
                  <a:lumMod val="50000"/>
                </a:schemeClr>
              </a:solidFill>
            </a:endParaRPr>
          </a:p>
        </p:txBody>
      </p:sp>
      <p:pic>
        <p:nvPicPr>
          <p:cNvPr id="5" name="Content Placeholder 4"/>
          <p:cNvPicPr>
            <a:picLocks noChangeAspect="1"/>
          </p:cNvPicPr>
          <p:nvPr>
            <p:ph idx="1"/>
          </p:nvPr>
        </p:nvPicPr>
        <p:blipFill>
          <a:blip r:embed="rId1"/>
          <a:stretch>
            <a:fillRect/>
          </a:stretch>
        </p:blipFill>
        <p:spPr>
          <a:xfrm>
            <a:off x="346710" y="1490345"/>
            <a:ext cx="6978650" cy="438785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dirty="0">
                <a:sym typeface="+mn-ea"/>
              </a:rPr>
              <a:t>Exploratory Data Analysis</a:t>
            </a:r>
            <a:endParaRPr lang="en-US" sz="2400" b="1" dirty="0"/>
          </a:p>
        </p:txBody>
      </p:sp>
      <p:sp>
        <p:nvSpPr>
          <p:cNvPr id="3" name="Text Box 2"/>
          <p:cNvSpPr txBox="1"/>
          <p:nvPr/>
        </p:nvSpPr>
        <p:spPr>
          <a:xfrm>
            <a:off x="8067040" y="1925955"/>
            <a:ext cx="2540000" cy="1168400"/>
          </a:xfrm>
          <a:prstGeom prst="rect">
            <a:avLst/>
          </a:prstGeom>
          <a:noFill/>
        </p:spPr>
        <p:txBody>
          <a:bodyPr wrap="square" rtlCol="0" anchor="t">
            <a:spAutoFit/>
          </a:bodyPr>
          <a:p>
            <a:r>
              <a:rPr lang="en-US" sz="1400" dirty="0" err="1" smtClean="0">
                <a:solidFill>
                  <a:schemeClr val="tx2">
                    <a:lumMod val="50000"/>
                  </a:schemeClr>
                </a:solidFill>
              </a:rPr>
              <a:t>The income of the customers are skewed to the left with a median income of $64,000.</a:t>
            </a:r>
            <a:endParaRPr lang="en-US" sz="1400" dirty="0" err="1" smtClean="0">
              <a:solidFill>
                <a:schemeClr val="tx2">
                  <a:lumMod val="50000"/>
                </a:schemeClr>
              </a:solidFill>
            </a:endParaRPr>
          </a:p>
          <a:p>
            <a:r>
              <a:rPr lang="en-US" sz="1400" dirty="0" err="1" smtClean="0">
                <a:solidFill>
                  <a:schemeClr val="tx2">
                    <a:lumMod val="50000"/>
                  </a:schemeClr>
                </a:solidFill>
              </a:rPr>
              <a:t>The Income attribute also has a lot of outlier values.</a:t>
            </a:r>
            <a:endParaRPr lang="en-US" sz="1400" dirty="0" err="1" smtClean="0">
              <a:solidFill>
                <a:schemeClr val="tx2">
                  <a:lumMod val="50000"/>
                </a:schemeClr>
              </a:solidFill>
            </a:endParaRPr>
          </a:p>
        </p:txBody>
      </p:sp>
      <p:pic>
        <p:nvPicPr>
          <p:cNvPr id="4" name="Content Placeholder 3"/>
          <p:cNvPicPr>
            <a:picLocks noChangeAspect="1"/>
          </p:cNvPicPr>
          <p:nvPr>
            <p:ph idx="1"/>
          </p:nvPr>
        </p:nvPicPr>
        <p:blipFill>
          <a:blip r:embed="rId1"/>
          <a:stretch>
            <a:fillRect/>
          </a:stretch>
        </p:blipFill>
        <p:spPr>
          <a:xfrm>
            <a:off x="434975" y="1500505"/>
            <a:ext cx="6883400" cy="4286250"/>
          </a:xfrm>
          <a:prstGeom prst="rect">
            <a:avLst/>
          </a:prstGeom>
        </p:spPr>
      </p:pic>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pcOLV5mW.q0KZi163Pl1yLQ"/>
</p:tagLst>
</file>

<file path=ppt/tags/tag12.xml><?xml version="1.0" encoding="utf-8"?>
<p:tagLst xmlns:p="http://schemas.openxmlformats.org/presentationml/2006/main">
  <p:tag name="THINKCELLSHAPEDONOTDELETE" val="pjfCn1rK4qUmp5lj5ISq8xA"/>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pu8VTg_P6rkuq_fbZG2oYXw"/>
</p:tagLst>
</file>

<file path=ppt/tags/tag15.xml><?xml version="1.0" encoding="utf-8"?>
<p:tagLst xmlns:p="http://schemas.openxmlformats.org/presentationml/2006/main">
  <p:tag name="THINKCELLSHAPEDONOTDELETE" val="pPHldxlhBv0miWYXN6H8BTQ"/>
</p:tagLst>
</file>

<file path=ppt/tags/tag16.xml><?xml version="1.0" encoding="utf-8"?>
<p:tagLst xmlns:p="http://schemas.openxmlformats.org/presentationml/2006/main">
  <p:tag name="THINKCELLSHAPEDONOTDELETE" val="pxzY4oecJCE2aPB.u6loWPw"/>
</p:tagLst>
</file>

<file path=ppt/tags/tag17.xml><?xml version="1.0" encoding="utf-8"?>
<p:tagLst xmlns:p="http://schemas.openxmlformats.org/presentationml/2006/main">
  <p:tag name="THINKCELLSHAPEDONOTDELETE" val="phk.3W3rhiEqWtBDEsi7Xgw"/>
</p:tagLst>
</file>

<file path=ppt/tags/tag18.xml><?xml version="1.0" encoding="utf-8"?>
<p:tagLst xmlns:p="http://schemas.openxmlformats.org/presentationml/2006/main">
  <p:tag name="THINKCELLSHAPEDONOTDELETE" val="p1xI4A68crEiZSNCDbGy9gA"/>
</p:tagLst>
</file>

<file path=ppt/tags/tag19.xml><?xml version="1.0" encoding="utf-8"?>
<p:tagLst xmlns:p="http://schemas.openxmlformats.org/presentationml/2006/main">
  <p:tag name="THINKCELLSHAPEDONOTDELETE" val="poGq5J2dxDUm3Ma.7NhQKKA"/>
</p:tagLst>
</file>

<file path=ppt/tags/tag2.xml><?xml version="1.0" encoding="utf-8"?>
<p:tagLst xmlns:p="http://schemas.openxmlformats.org/presentationml/2006/main">
  <p:tag name="THINKCELLSHAPEDONOTDELETE" val="phk.3W3rhiEqWtBDEsi7Xgw"/>
</p:tagLst>
</file>

<file path=ppt/tags/tag20.xml><?xml version="1.0" encoding="utf-8"?>
<p:tagLst xmlns:p="http://schemas.openxmlformats.org/presentationml/2006/main">
  <p:tag name="THINKCELLSHAPEDONOTDELETE" val="pzTl75Tp2nEy_4PpazGLtVA"/>
</p:tagLst>
</file>

<file path=ppt/tags/tag3.xml><?xml version="1.0" encoding="utf-8"?>
<p:tagLst xmlns:p="http://schemas.openxmlformats.org/presentationml/2006/main">
  <p:tag name="THINKCELLSHAPEDONOTDELETE" val="pzTl75Tp2nEy_4PpazGLtVA"/>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prGIuHW8gFUKsEtFJDZy1QA"/>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phk.3W3rhiEqWtBDEsi7Xgw"/>
</p:tagLst>
</file>

<file path=ppt/tags/tag8.xml><?xml version="1.0" encoding="utf-8"?>
<p:tagLst xmlns:p="http://schemas.openxmlformats.org/presentationml/2006/main">
  <p:tag name="THINKCELLSHAPEDONOTDELETE" val="pzTl75Tp2nEy_4PpazGLtVA"/>
</p:tagLst>
</file>

<file path=ppt/tags/tag9.xml><?xml version="1.0" encoding="utf-8"?>
<p:tagLst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SlateVTI">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Nova">
      <a:majorFont>
        <a:latin typeface="Arial Nova Light"/>
        <a:ea typeface=""/>
        <a:cs typeface=""/>
      </a:majorFont>
      <a:minorFont>
        <a:latin typeface="Arial Nova"/>
        <a:ea typeface=""/>
        <a:cs typeface=""/>
      </a:minorFont>
    </a:fontScheme>
    <a:fmtScheme name="Slate">
      <a:fillStyleLst>
        <a:solidFill>
          <a:schemeClr val="phClr"/>
        </a:solidFill>
        <a:gradFill rotWithShape="1">
          <a:gsLst>
            <a:gs pos="0">
              <a:schemeClr val="phClr">
                <a:tint val="60000"/>
                <a:lumMod val="110000"/>
              </a:schemeClr>
            </a:gs>
            <a:gs pos="100000">
              <a:schemeClr val="phClr">
                <a:tint val="88000"/>
              </a:schemeClr>
            </a:gs>
          </a:gsLst>
          <a:lin ang="5400000" scaled="0"/>
        </a:gradFill>
        <a:gradFill rotWithShape="1">
          <a:gsLst>
            <a:gs pos="0">
              <a:schemeClr val="phClr">
                <a:tint val="96000"/>
                <a:lumMod val="104000"/>
              </a:schemeClr>
            </a:gs>
            <a:gs pos="100000">
              <a:schemeClr val="phClr">
                <a:shade val="90000"/>
                <a:lumMod val="90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63500" dist="25400" dir="5400000" rotWithShape="0">
              <a:srgbClr val="000000">
                <a:alpha val="60000"/>
              </a:srgbClr>
            </a:outerShdw>
          </a:effectLst>
        </a:effectStyle>
        <a:effectStyle>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fillRect/>
          </a:stretch>
        </a:blip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003399"/>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090430[[fn=Banded]]</Template>
  <TotalTime>0</TotalTime>
  <Words>6777</Words>
  <Application>WPS Presentation</Application>
  <PresentationFormat>Widescreen</PresentationFormat>
  <Paragraphs>138</Paragraphs>
  <Slides>23</Slides>
  <Notes>1</Notes>
  <HiddenSlides>0</HiddenSlides>
  <MMClips>0</MMClips>
  <ScaleCrop>false</ScaleCrop>
  <HeadingPairs>
    <vt:vector size="8" baseType="variant">
      <vt:variant>
        <vt:lpstr>已用的字体</vt:lpstr>
      </vt:variant>
      <vt:variant>
        <vt:i4>15</vt:i4>
      </vt:variant>
      <vt:variant>
        <vt:lpstr>主题</vt:lpstr>
      </vt:variant>
      <vt:variant>
        <vt:i4>2</vt:i4>
      </vt:variant>
      <vt:variant>
        <vt:lpstr>嵌入 OLE 服务器</vt:lpstr>
      </vt:variant>
      <vt:variant>
        <vt:i4>0</vt:i4>
      </vt:variant>
      <vt:variant>
        <vt:lpstr>幻灯片标题</vt:lpstr>
      </vt:variant>
      <vt:variant>
        <vt:i4>23</vt:i4>
      </vt:variant>
    </vt:vector>
  </HeadingPairs>
  <TitlesOfParts>
    <vt:vector size="40" baseType="lpstr">
      <vt:lpstr>Arial</vt:lpstr>
      <vt:lpstr>SimSun</vt:lpstr>
      <vt:lpstr>Wingdings</vt:lpstr>
      <vt:lpstr>Trebuchet MS</vt:lpstr>
      <vt:lpstr>Wingdings 2</vt:lpstr>
      <vt:lpstr>Helvetica Light</vt:lpstr>
      <vt:lpstr>Arial</vt:lpstr>
      <vt:lpstr>Arial Nova</vt:lpstr>
      <vt:lpstr>Arial Nova Light</vt:lpstr>
      <vt:lpstr>Microsoft YaHei</vt:lpstr>
      <vt:lpstr>Arial Unicode MS</vt:lpstr>
      <vt:lpstr>Calibri</vt:lpstr>
      <vt:lpstr>Arial Nova</vt:lpstr>
      <vt:lpstr>Arial Narrow</vt:lpstr>
      <vt:lpstr>Arial Black</vt:lpstr>
      <vt:lpstr>SlateVTI</vt:lpstr>
      <vt:lpstr>ppt_Template_Capgemini</vt:lpstr>
      <vt:lpstr>Covid-19 Vaccines - Is there a best vaccine? </vt:lpstr>
      <vt:lpstr>Agenda</vt:lpstr>
      <vt:lpstr>Project Summary</vt:lpstr>
      <vt:lpstr>Ethics Statement</vt:lpstr>
      <vt:lpstr>Personal Loan Data</vt:lpstr>
      <vt:lpstr>Predictive Modeling</vt:lpstr>
      <vt:lpstr>Risks / Contingencies</vt:lpstr>
      <vt:lpstr>Exploratory Data Analysis</vt:lpstr>
      <vt:lpstr>Exploratory Data Analysis</vt:lpstr>
      <vt:lpstr>Exploratory Data Analysis</vt:lpstr>
      <vt:lpstr>Exploratory Data Analysis</vt:lpstr>
      <vt:lpstr>Exploratory Data Analysis</vt:lpstr>
      <vt:lpstr>Exploratory Data Analysis</vt:lpstr>
      <vt:lpstr>Exploratory Data Analysis</vt:lpstr>
      <vt:lpstr>Exploratory Data Analysis</vt:lpstr>
      <vt:lpstr>Exploratory Data Analysis</vt:lpstr>
      <vt:lpstr>Exploratory Data Analysis</vt:lpstr>
      <vt:lpstr>Exploratory Data Analysis</vt:lpstr>
      <vt:lpstr>Exploratory Data Analysis</vt:lpstr>
      <vt:lpstr>Data Preparation</vt:lpstr>
      <vt:lpstr>Feature Selection</vt:lpstr>
      <vt:lpstr>Base Models</vt:lpstr>
      <vt:lpstr>Conclus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Data Science</dc:title>
  <dc:creator>Supraja Rapuru</dc:creator>
  <cp:lastModifiedBy>Supraja</cp:lastModifiedBy>
  <cp:revision>102</cp:revision>
  <dcterms:created xsi:type="dcterms:W3CDTF">2021-03-21T15:48:00Z</dcterms:created>
  <dcterms:modified xsi:type="dcterms:W3CDTF">2022-06-04T15:5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KSOProductBuildVer">
    <vt:lpwstr>1033-11.2.0.11130</vt:lpwstr>
  </property>
  <property fmtid="{D5CDD505-2E9C-101B-9397-08002B2CF9AE}" pid="4" name="ICV">
    <vt:lpwstr>309DDD736683484BB18E35230B15DA8D</vt:lpwstr>
  </property>
</Properties>
</file>